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1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2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3" r:id="rId4"/>
    <p:sldMasterId id="2147483756" r:id="rId5"/>
    <p:sldMasterId id="2147483768" r:id="rId6"/>
  </p:sldMasterIdLst>
  <p:notesMasterIdLst>
    <p:notesMasterId r:id="rId10"/>
  </p:notesMasterIdLst>
  <p:sldIdLst>
    <p:sldId id="260" r:id="rId7"/>
    <p:sldId id="261" r:id="rId8"/>
    <p:sldId id="2147481665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8CBDA"/>
    <a:srgbClr val="E6EDF2"/>
    <a:srgbClr val="32ADFF"/>
    <a:srgbClr val="000063"/>
    <a:srgbClr val="004C86"/>
    <a:srgbClr val="FFFFFF"/>
    <a:srgbClr val="0088CE"/>
    <a:srgbClr val="0033A0"/>
    <a:srgbClr val="2D67FF"/>
    <a:srgbClr val="FFCC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5029727-0693-4B2F-8E33-176788D97DCE}" v="16" dt="2025-06-26T15:51:18.79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48" d="100"/>
          <a:sy n="48" d="100"/>
        </p:scale>
        <p:origin x="1268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-651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kram Chandna" userId="d41689e5-46d3-462a-81dc-f998aa5c3923" providerId="ADAL" clId="{A5B0E68F-2D1E-4A93-9B76-0D1049A86230}"/>
    <pc:docChg chg="undo custSel addSld delSld modSld">
      <pc:chgData name="Vikram Chandna" userId="d41689e5-46d3-462a-81dc-f998aa5c3923" providerId="ADAL" clId="{A5B0E68F-2D1E-4A93-9B76-0D1049A86230}" dt="2025-04-08T06:03:36.207" v="5962" actId="20577"/>
      <pc:docMkLst>
        <pc:docMk/>
      </pc:docMkLst>
      <pc:sldChg chg="addSp modSp add del">
        <pc:chgData name="Vikram Chandna" userId="d41689e5-46d3-462a-81dc-f998aa5c3923" providerId="ADAL" clId="{A5B0E68F-2D1E-4A93-9B76-0D1049A86230}" dt="2025-04-08T04:40:32.043" v="5488" actId="47"/>
        <pc:sldMkLst>
          <pc:docMk/>
          <pc:sldMk cId="1512537157" sldId="256"/>
        </pc:sldMkLst>
      </pc:sldChg>
      <pc:sldChg chg="add del">
        <pc:chgData name="Vikram Chandna" userId="d41689e5-46d3-462a-81dc-f998aa5c3923" providerId="ADAL" clId="{A5B0E68F-2D1E-4A93-9B76-0D1049A86230}" dt="2025-04-07T13:25:02.054" v="1612" actId="47"/>
        <pc:sldMkLst>
          <pc:docMk/>
          <pc:sldMk cId="3109387066" sldId="256"/>
        </pc:sldMkLst>
      </pc:sldChg>
      <pc:sldChg chg="del">
        <pc:chgData name="Vikram Chandna" userId="d41689e5-46d3-462a-81dc-f998aa5c3923" providerId="ADAL" clId="{A5B0E68F-2D1E-4A93-9B76-0D1049A86230}" dt="2025-04-07T06:13:21.189" v="0" actId="47"/>
        <pc:sldMkLst>
          <pc:docMk/>
          <pc:sldMk cId="1231978189" sldId="260"/>
        </pc:sldMkLst>
      </pc:sldChg>
      <pc:sldChg chg="addSp delSp modSp add mod">
        <pc:chgData name="Vikram Chandna" userId="d41689e5-46d3-462a-81dc-f998aa5c3923" providerId="ADAL" clId="{A5B0E68F-2D1E-4A93-9B76-0D1049A86230}" dt="2025-04-08T06:03:36.207" v="5962" actId="20577"/>
        <pc:sldMkLst>
          <pc:docMk/>
          <pc:sldMk cId="3852124055" sldId="260"/>
        </pc:sldMkLst>
        <pc:spChg chg="add mod">
          <ac:chgData name="Vikram Chandna" userId="d41689e5-46d3-462a-81dc-f998aa5c3923" providerId="ADAL" clId="{A5B0E68F-2D1E-4A93-9B76-0D1049A86230}" dt="2025-04-08T05:57:56.855" v="5925" actId="552"/>
          <ac:spMkLst>
            <pc:docMk/>
            <pc:sldMk cId="3852124055" sldId="260"/>
            <ac:spMk id="2" creationId="{A888B663-2FC1-0B00-444D-6A0BCC29F12D}"/>
          </ac:spMkLst>
        </pc:spChg>
        <pc:spChg chg="add mod">
          <ac:chgData name="Vikram Chandna" userId="d41689e5-46d3-462a-81dc-f998aa5c3923" providerId="ADAL" clId="{A5B0E68F-2D1E-4A93-9B76-0D1049A86230}" dt="2025-04-08T05:57:56.855" v="5925" actId="552"/>
          <ac:spMkLst>
            <pc:docMk/>
            <pc:sldMk cId="3852124055" sldId="260"/>
            <ac:spMk id="3" creationId="{2FDBF424-9B27-1D0C-8928-B9BD1BD0D09E}"/>
          </ac:spMkLst>
        </pc:spChg>
        <pc:spChg chg="add mod">
          <ac:chgData name="Vikram Chandna" userId="d41689e5-46d3-462a-81dc-f998aa5c3923" providerId="ADAL" clId="{A5B0E68F-2D1E-4A93-9B76-0D1049A86230}" dt="2025-04-08T05:57:56.855" v="5925" actId="552"/>
          <ac:spMkLst>
            <pc:docMk/>
            <pc:sldMk cId="3852124055" sldId="260"/>
            <ac:spMk id="4" creationId="{E534F94A-6628-61DC-EBF0-47C6BDC6068C}"/>
          </ac:spMkLst>
        </pc:spChg>
        <pc:spChg chg="add mod">
          <ac:chgData name="Vikram Chandna" userId="d41689e5-46d3-462a-81dc-f998aa5c3923" providerId="ADAL" clId="{A5B0E68F-2D1E-4A93-9B76-0D1049A86230}" dt="2025-04-08T04:24:39.333" v="5291" actId="1038"/>
          <ac:spMkLst>
            <pc:docMk/>
            <pc:sldMk cId="3852124055" sldId="260"/>
            <ac:spMk id="38" creationId="{898E50C0-96BA-7BCA-FAF6-D2A21137450D}"/>
          </ac:spMkLst>
        </pc:spChg>
        <pc:spChg chg="add mod">
          <ac:chgData name="Vikram Chandna" userId="d41689e5-46d3-462a-81dc-f998aa5c3923" providerId="ADAL" clId="{A5B0E68F-2D1E-4A93-9B76-0D1049A86230}" dt="2025-04-08T04:25:03.574" v="5296" actId="6549"/>
          <ac:spMkLst>
            <pc:docMk/>
            <pc:sldMk cId="3852124055" sldId="260"/>
            <ac:spMk id="40" creationId="{C9E4C377-BC6D-60AA-AD0B-F41797810118}"/>
          </ac:spMkLst>
        </pc:spChg>
        <pc:spChg chg="add mod">
          <ac:chgData name="Vikram Chandna" userId="d41689e5-46d3-462a-81dc-f998aa5c3923" providerId="ADAL" clId="{A5B0E68F-2D1E-4A93-9B76-0D1049A86230}" dt="2025-04-08T04:24:39.333" v="5291" actId="1038"/>
          <ac:spMkLst>
            <pc:docMk/>
            <pc:sldMk cId="3852124055" sldId="260"/>
            <ac:spMk id="42" creationId="{DF00DCE7-F1FD-0CAF-68ED-F78ACC60FB12}"/>
          </ac:spMkLst>
        </pc:spChg>
        <pc:spChg chg="add mod ord">
          <ac:chgData name="Vikram Chandna" userId="d41689e5-46d3-462a-81dc-f998aa5c3923" providerId="ADAL" clId="{A5B0E68F-2D1E-4A93-9B76-0D1049A86230}" dt="2025-04-08T03:33:44.634" v="4978" actId="1038"/>
          <ac:spMkLst>
            <pc:docMk/>
            <pc:sldMk cId="3852124055" sldId="260"/>
            <ac:spMk id="43" creationId="{538F7A2C-F9F9-853D-3501-05660C95FE03}"/>
          </ac:spMkLst>
        </pc:spChg>
        <pc:spChg chg="add mod">
          <ac:chgData name="Vikram Chandna" userId="d41689e5-46d3-462a-81dc-f998aa5c3923" providerId="ADAL" clId="{A5B0E68F-2D1E-4A93-9B76-0D1049A86230}" dt="2025-04-08T04:42:55.440" v="5510" actId="1038"/>
          <ac:spMkLst>
            <pc:docMk/>
            <pc:sldMk cId="3852124055" sldId="260"/>
            <ac:spMk id="44" creationId="{4DD06FEC-A5D6-E23A-684E-4E6BC400A52D}"/>
          </ac:spMkLst>
        </pc:spChg>
        <pc:spChg chg="add mod">
          <ac:chgData name="Vikram Chandna" userId="d41689e5-46d3-462a-81dc-f998aa5c3923" providerId="ADAL" clId="{A5B0E68F-2D1E-4A93-9B76-0D1049A86230}" dt="2025-04-08T04:42:56.812" v="5511" actId="1037"/>
          <ac:spMkLst>
            <pc:docMk/>
            <pc:sldMk cId="3852124055" sldId="260"/>
            <ac:spMk id="45" creationId="{0723F830-974B-08C0-28B5-7EA9F7544DC3}"/>
          </ac:spMkLst>
        </pc:spChg>
        <pc:spChg chg="add mod">
          <ac:chgData name="Vikram Chandna" userId="d41689e5-46d3-462a-81dc-f998aa5c3923" providerId="ADAL" clId="{A5B0E68F-2D1E-4A93-9B76-0D1049A86230}" dt="2025-04-08T04:42:55.440" v="5510" actId="1038"/>
          <ac:spMkLst>
            <pc:docMk/>
            <pc:sldMk cId="3852124055" sldId="260"/>
            <ac:spMk id="46" creationId="{EC130A9B-328C-415A-5CD1-0A04EE5C0AEE}"/>
          </ac:spMkLst>
        </pc:spChg>
        <pc:spChg chg="add mod">
          <ac:chgData name="Vikram Chandna" userId="d41689e5-46d3-462a-81dc-f998aa5c3923" providerId="ADAL" clId="{A5B0E68F-2D1E-4A93-9B76-0D1049A86230}" dt="2025-04-08T06:00:49.458" v="5933" actId="197"/>
          <ac:spMkLst>
            <pc:docMk/>
            <pc:sldMk cId="3852124055" sldId="260"/>
            <ac:spMk id="47" creationId="{F03CE195-F563-5089-8750-849212BB029F}"/>
          </ac:spMkLst>
        </pc:spChg>
        <pc:spChg chg="add mod">
          <ac:chgData name="Vikram Chandna" userId="d41689e5-46d3-462a-81dc-f998aa5c3923" providerId="ADAL" clId="{A5B0E68F-2D1E-4A93-9B76-0D1049A86230}" dt="2025-04-08T06:00:59.879" v="5935" actId="197"/>
          <ac:spMkLst>
            <pc:docMk/>
            <pc:sldMk cId="3852124055" sldId="260"/>
            <ac:spMk id="48" creationId="{BCF90B6D-F278-ED1A-1860-33AED9C55278}"/>
          </ac:spMkLst>
        </pc:spChg>
        <pc:spChg chg="add mod">
          <ac:chgData name="Vikram Chandna" userId="d41689e5-46d3-462a-81dc-f998aa5c3923" providerId="ADAL" clId="{A5B0E68F-2D1E-4A93-9B76-0D1049A86230}" dt="2025-04-08T06:01:27.602" v="5937" actId="197"/>
          <ac:spMkLst>
            <pc:docMk/>
            <pc:sldMk cId="3852124055" sldId="260"/>
            <ac:spMk id="49" creationId="{AEEE1F7E-2D4F-0BAD-0DCA-AFD64766B407}"/>
          </ac:spMkLst>
        </pc:spChg>
        <pc:spChg chg="mod">
          <ac:chgData name="Vikram Chandna" userId="d41689e5-46d3-462a-81dc-f998aa5c3923" providerId="ADAL" clId="{A5B0E68F-2D1E-4A93-9B76-0D1049A86230}" dt="2025-04-08T03:34:27.978" v="5019" actId="1037"/>
          <ac:spMkLst>
            <pc:docMk/>
            <pc:sldMk cId="3852124055" sldId="260"/>
            <ac:spMk id="58" creationId="{4C6D07FE-D2D9-A625-ED8D-AB85CA59570C}"/>
          </ac:spMkLst>
        </pc:spChg>
        <pc:spChg chg="add mod">
          <ac:chgData name="Vikram Chandna" userId="d41689e5-46d3-462a-81dc-f998aa5c3923" providerId="ADAL" clId="{A5B0E68F-2D1E-4A93-9B76-0D1049A86230}" dt="2025-04-08T04:53:25.240" v="5519" actId="1036"/>
          <ac:spMkLst>
            <pc:docMk/>
            <pc:sldMk cId="3852124055" sldId="260"/>
            <ac:spMk id="59" creationId="{3C491381-1431-7512-C17A-62DCD5BECFF9}"/>
          </ac:spMkLst>
        </pc:spChg>
        <pc:spChg chg="mod ord">
          <ac:chgData name="Vikram Chandna" userId="d41689e5-46d3-462a-81dc-f998aa5c3923" providerId="ADAL" clId="{A5B0E68F-2D1E-4A93-9B76-0D1049A86230}" dt="2025-04-07T09:03:37.432" v="913" actId="12789"/>
          <ac:spMkLst>
            <pc:docMk/>
            <pc:sldMk cId="3852124055" sldId="260"/>
            <ac:spMk id="66" creationId="{A2FD9F85-9813-448A-242A-70FBE166EE9C}"/>
          </ac:spMkLst>
        </pc:spChg>
        <pc:spChg chg="mod">
          <ac:chgData name="Vikram Chandna" userId="d41689e5-46d3-462a-81dc-f998aa5c3923" providerId="ADAL" clId="{A5B0E68F-2D1E-4A93-9B76-0D1049A86230}" dt="2025-04-08T03:15:36.104" v="4373" actId="1035"/>
          <ac:spMkLst>
            <pc:docMk/>
            <pc:sldMk cId="3852124055" sldId="260"/>
            <ac:spMk id="73" creationId="{E3F39FF1-0C86-6286-82B2-FB893B595484}"/>
          </ac:spMkLst>
        </pc:spChg>
        <pc:spChg chg="mod ord">
          <ac:chgData name="Vikram Chandna" userId="d41689e5-46d3-462a-81dc-f998aa5c3923" providerId="ADAL" clId="{A5B0E68F-2D1E-4A93-9B76-0D1049A86230}" dt="2025-04-08T03:15:36.104" v="4373" actId="1035"/>
          <ac:spMkLst>
            <pc:docMk/>
            <pc:sldMk cId="3852124055" sldId="260"/>
            <ac:spMk id="314" creationId="{FAE59012-8DB7-72D5-3566-F9973684E9EC}"/>
          </ac:spMkLst>
        </pc:spChg>
        <pc:spChg chg="mod ord">
          <ac:chgData name="Vikram Chandna" userId="d41689e5-46d3-462a-81dc-f998aa5c3923" providerId="ADAL" clId="{A5B0E68F-2D1E-4A93-9B76-0D1049A86230}" dt="2025-04-07T09:03:37.432" v="913" actId="12789"/>
          <ac:spMkLst>
            <pc:docMk/>
            <pc:sldMk cId="3852124055" sldId="260"/>
            <ac:spMk id="315" creationId="{D700D36E-5CDB-EC6C-34A5-C3D9B6B1B178}"/>
          </ac:spMkLst>
        </pc:spChg>
        <pc:spChg chg="mod ord">
          <ac:chgData name="Vikram Chandna" userId="d41689e5-46d3-462a-81dc-f998aa5c3923" providerId="ADAL" clId="{A5B0E68F-2D1E-4A93-9B76-0D1049A86230}" dt="2025-04-08T03:15:36.104" v="4373" actId="1035"/>
          <ac:spMkLst>
            <pc:docMk/>
            <pc:sldMk cId="3852124055" sldId="260"/>
            <ac:spMk id="327" creationId="{294E9C0D-745B-2A74-A0DF-C29F5FA6D313}"/>
          </ac:spMkLst>
        </pc:spChg>
        <pc:spChg chg="add mod ord">
          <ac:chgData name="Vikram Chandna" userId="d41689e5-46d3-462a-81dc-f998aa5c3923" providerId="ADAL" clId="{A5B0E68F-2D1E-4A93-9B76-0D1049A86230}" dt="2025-04-07T09:05:27.484" v="1088" actId="2085"/>
          <ac:spMkLst>
            <pc:docMk/>
            <pc:sldMk cId="3852124055" sldId="260"/>
            <ac:spMk id="328" creationId="{B9FAC378-5927-3BD0-11BC-C699357B6684}"/>
          </ac:spMkLst>
        </pc:spChg>
        <pc:spChg chg="add mod ord">
          <ac:chgData name="Vikram Chandna" userId="d41689e5-46d3-462a-81dc-f998aa5c3923" providerId="ADAL" clId="{A5B0E68F-2D1E-4A93-9B76-0D1049A86230}" dt="2025-04-08T03:15:36.104" v="4373" actId="1035"/>
          <ac:spMkLst>
            <pc:docMk/>
            <pc:sldMk cId="3852124055" sldId="260"/>
            <ac:spMk id="329" creationId="{010CFAD7-B47A-F130-C093-0A50759EA702}"/>
          </ac:spMkLst>
        </pc:spChg>
        <pc:spChg chg="add mod">
          <ac:chgData name="Vikram Chandna" userId="d41689e5-46d3-462a-81dc-f998aa5c3923" providerId="ADAL" clId="{A5B0E68F-2D1E-4A93-9B76-0D1049A86230}" dt="2025-04-08T03:31:25.477" v="4942" actId="207"/>
          <ac:spMkLst>
            <pc:docMk/>
            <pc:sldMk cId="3852124055" sldId="260"/>
            <ac:spMk id="330" creationId="{9D26B198-14B9-8E8B-0D43-8446BC6E7F38}"/>
          </ac:spMkLst>
        </pc:spChg>
        <pc:spChg chg="add mod">
          <ac:chgData name="Vikram Chandna" userId="d41689e5-46d3-462a-81dc-f998aa5c3923" providerId="ADAL" clId="{A5B0E68F-2D1E-4A93-9B76-0D1049A86230}" dt="2025-04-08T04:57:00.111" v="5642" actId="1076"/>
          <ac:spMkLst>
            <pc:docMk/>
            <pc:sldMk cId="3852124055" sldId="260"/>
            <ac:spMk id="331" creationId="{AF3F3D37-62CA-B419-4010-0841DDADC424}"/>
          </ac:spMkLst>
        </pc:spChg>
        <pc:spChg chg="add mod">
          <ac:chgData name="Vikram Chandna" userId="d41689e5-46d3-462a-81dc-f998aa5c3923" providerId="ADAL" clId="{A5B0E68F-2D1E-4A93-9B76-0D1049A86230}" dt="2025-04-08T03:31:25.477" v="4942" actId="207"/>
          <ac:spMkLst>
            <pc:docMk/>
            <pc:sldMk cId="3852124055" sldId="260"/>
            <ac:spMk id="332" creationId="{0D79E2E0-3905-5A45-6220-F3AB398F23CF}"/>
          </ac:spMkLst>
        </pc:spChg>
        <pc:spChg chg="add mod">
          <ac:chgData name="Vikram Chandna" userId="d41689e5-46d3-462a-81dc-f998aa5c3923" providerId="ADAL" clId="{A5B0E68F-2D1E-4A93-9B76-0D1049A86230}" dt="2025-04-08T03:31:25.477" v="4942" actId="207"/>
          <ac:spMkLst>
            <pc:docMk/>
            <pc:sldMk cId="3852124055" sldId="260"/>
            <ac:spMk id="333" creationId="{C815288E-D9A0-97D6-FF19-79EEF2EAEF0A}"/>
          </ac:spMkLst>
        </pc:spChg>
        <pc:spChg chg="add mod">
          <ac:chgData name="Vikram Chandna" userId="d41689e5-46d3-462a-81dc-f998aa5c3923" providerId="ADAL" clId="{A5B0E68F-2D1E-4A93-9B76-0D1049A86230}" dt="2025-04-08T03:31:25.477" v="4942" actId="207"/>
          <ac:spMkLst>
            <pc:docMk/>
            <pc:sldMk cId="3852124055" sldId="260"/>
            <ac:spMk id="334" creationId="{1B439C27-1E31-FC75-F8A5-0A73E47738BC}"/>
          </ac:spMkLst>
        </pc:spChg>
        <pc:spChg chg="add mod">
          <ac:chgData name="Vikram Chandna" userId="d41689e5-46d3-462a-81dc-f998aa5c3923" providerId="ADAL" clId="{A5B0E68F-2D1E-4A93-9B76-0D1049A86230}" dt="2025-04-08T03:31:25.477" v="4942" actId="207"/>
          <ac:spMkLst>
            <pc:docMk/>
            <pc:sldMk cId="3852124055" sldId="260"/>
            <ac:spMk id="335" creationId="{D0CFA946-E93D-697E-632B-B4B2D6AEBD90}"/>
          </ac:spMkLst>
        </pc:spChg>
        <pc:spChg chg="add mod">
          <ac:chgData name="Vikram Chandna" userId="d41689e5-46d3-462a-81dc-f998aa5c3923" providerId="ADAL" clId="{A5B0E68F-2D1E-4A93-9B76-0D1049A86230}" dt="2025-04-07T15:01:11.717" v="2484" actId="14100"/>
          <ac:spMkLst>
            <pc:docMk/>
            <pc:sldMk cId="3852124055" sldId="260"/>
            <ac:spMk id="338" creationId="{92A88CE9-C113-8F94-6B28-E84E35558ED5}"/>
          </ac:spMkLst>
        </pc:spChg>
        <pc:spChg chg="add mod">
          <ac:chgData name="Vikram Chandna" userId="d41689e5-46d3-462a-81dc-f998aa5c3923" providerId="ADAL" clId="{A5B0E68F-2D1E-4A93-9B76-0D1049A86230}" dt="2025-04-07T09:02:09.430" v="850" actId="408"/>
          <ac:spMkLst>
            <pc:docMk/>
            <pc:sldMk cId="3852124055" sldId="260"/>
            <ac:spMk id="339" creationId="{E57C0946-6D0A-A270-401C-56DBF493CABC}"/>
          </ac:spMkLst>
        </pc:spChg>
        <pc:spChg chg="add mod">
          <ac:chgData name="Vikram Chandna" userId="d41689e5-46d3-462a-81dc-f998aa5c3923" providerId="ADAL" clId="{A5B0E68F-2D1E-4A93-9B76-0D1049A86230}" dt="2025-04-08T04:56:57.974" v="5640" actId="1038"/>
          <ac:spMkLst>
            <pc:docMk/>
            <pc:sldMk cId="3852124055" sldId="260"/>
            <ac:spMk id="340" creationId="{18991D2C-041E-9251-7A39-D65694C6F411}"/>
          </ac:spMkLst>
        </pc:spChg>
        <pc:spChg chg="add mod">
          <ac:chgData name="Vikram Chandna" userId="d41689e5-46d3-462a-81dc-f998aa5c3923" providerId="ADAL" clId="{A5B0E68F-2D1E-4A93-9B76-0D1049A86230}" dt="2025-04-08T04:57:06.542" v="5693" actId="1038"/>
          <ac:spMkLst>
            <pc:docMk/>
            <pc:sldMk cId="3852124055" sldId="260"/>
            <ac:spMk id="341" creationId="{44B96345-4DB6-5F32-F8EB-8A51512DAFFA}"/>
          </ac:spMkLst>
        </pc:spChg>
        <pc:spChg chg="add mod">
          <ac:chgData name="Vikram Chandna" userId="d41689e5-46d3-462a-81dc-f998aa5c3923" providerId="ADAL" clId="{A5B0E68F-2D1E-4A93-9B76-0D1049A86230}" dt="2025-04-08T04:57:21.920" v="5752" actId="1038"/>
          <ac:spMkLst>
            <pc:docMk/>
            <pc:sldMk cId="3852124055" sldId="260"/>
            <ac:spMk id="342" creationId="{204DDD8F-C983-2940-ECB1-F440803F1490}"/>
          </ac:spMkLst>
        </pc:spChg>
        <pc:spChg chg="add mod">
          <ac:chgData name="Vikram Chandna" userId="d41689e5-46d3-462a-81dc-f998aa5c3923" providerId="ADAL" clId="{A5B0E68F-2D1E-4A93-9B76-0D1049A86230}" dt="2025-04-08T04:57:21.920" v="5752" actId="1038"/>
          <ac:spMkLst>
            <pc:docMk/>
            <pc:sldMk cId="3852124055" sldId="260"/>
            <ac:spMk id="343" creationId="{6F6E234E-21C2-51D3-FD95-27E29936DF47}"/>
          </ac:spMkLst>
        </pc:spChg>
        <pc:spChg chg="add mod">
          <ac:chgData name="Vikram Chandna" userId="d41689e5-46d3-462a-81dc-f998aa5c3923" providerId="ADAL" clId="{A5B0E68F-2D1E-4A93-9B76-0D1049A86230}" dt="2025-04-08T04:57:30.605" v="5801" actId="1038"/>
          <ac:spMkLst>
            <pc:docMk/>
            <pc:sldMk cId="3852124055" sldId="260"/>
            <ac:spMk id="344" creationId="{B011FF90-305A-7A28-0140-53589603603C}"/>
          </ac:spMkLst>
        </pc:spChg>
        <pc:spChg chg="mod">
          <ac:chgData name="Vikram Chandna" userId="d41689e5-46d3-462a-81dc-f998aa5c3923" providerId="ADAL" clId="{A5B0E68F-2D1E-4A93-9B76-0D1049A86230}" dt="2025-04-08T02:40:47.234" v="4020" actId="208"/>
          <ac:spMkLst>
            <pc:docMk/>
            <pc:sldMk cId="3852124055" sldId="260"/>
            <ac:spMk id="351" creationId="{6307F067-2AF9-130F-7141-71935BC7A879}"/>
          </ac:spMkLst>
        </pc:spChg>
        <pc:spChg chg="mod">
          <ac:chgData name="Vikram Chandna" userId="d41689e5-46d3-462a-81dc-f998aa5c3923" providerId="ADAL" clId="{A5B0E68F-2D1E-4A93-9B76-0D1049A86230}" dt="2025-04-08T03:34:12.638" v="5000" actId="1038"/>
          <ac:spMkLst>
            <pc:docMk/>
            <pc:sldMk cId="3852124055" sldId="260"/>
            <ac:spMk id="352" creationId="{A9B9E92D-C244-0903-04C0-C6694343CEF0}"/>
          </ac:spMkLst>
        </pc:spChg>
        <pc:spChg chg="mod">
          <ac:chgData name="Vikram Chandna" userId="d41689e5-46d3-462a-81dc-f998aa5c3923" providerId="ADAL" clId="{A5B0E68F-2D1E-4A93-9B76-0D1049A86230}" dt="2025-04-08T02:40:47.234" v="4020" actId="208"/>
          <ac:spMkLst>
            <pc:docMk/>
            <pc:sldMk cId="3852124055" sldId="260"/>
            <ac:spMk id="356" creationId="{19522018-4C09-AB88-56A2-D1E77F232ADA}"/>
          </ac:spMkLst>
        </pc:spChg>
        <pc:spChg chg="mod">
          <ac:chgData name="Vikram Chandna" userId="d41689e5-46d3-462a-81dc-f998aa5c3923" providerId="ADAL" clId="{A5B0E68F-2D1E-4A93-9B76-0D1049A86230}" dt="2025-04-08T02:40:47.234" v="4020" actId="208"/>
          <ac:spMkLst>
            <pc:docMk/>
            <pc:sldMk cId="3852124055" sldId="260"/>
            <ac:spMk id="357" creationId="{772C613F-D478-299B-2905-6F8B19E86B16}"/>
          </ac:spMkLst>
        </pc:spChg>
        <pc:spChg chg="mod">
          <ac:chgData name="Vikram Chandna" userId="d41689e5-46d3-462a-81dc-f998aa5c3923" providerId="ADAL" clId="{A5B0E68F-2D1E-4A93-9B76-0D1049A86230}" dt="2025-04-08T02:40:47.234" v="4020" actId="208"/>
          <ac:spMkLst>
            <pc:docMk/>
            <pc:sldMk cId="3852124055" sldId="260"/>
            <ac:spMk id="358" creationId="{8EAD9610-ED4A-66BC-26BD-AB867CE7B18F}"/>
          </ac:spMkLst>
        </pc:spChg>
        <pc:spChg chg="mod">
          <ac:chgData name="Vikram Chandna" userId="d41689e5-46d3-462a-81dc-f998aa5c3923" providerId="ADAL" clId="{A5B0E68F-2D1E-4A93-9B76-0D1049A86230}" dt="2025-04-08T02:40:47.234" v="4020" actId="208"/>
          <ac:spMkLst>
            <pc:docMk/>
            <pc:sldMk cId="3852124055" sldId="260"/>
            <ac:spMk id="359" creationId="{C38DFB80-CAF5-C3BC-F37F-1870CE7B0B10}"/>
          </ac:spMkLst>
        </pc:spChg>
        <pc:spChg chg="mod">
          <ac:chgData name="Vikram Chandna" userId="d41689e5-46d3-462a-81dc-f998aa5c3923" providerId="ADAL" clId="{A5B0E68F-2D1E-4A93-9B76-0D1049A86230}" dt="2025-04-08T02:40:47.234" v="4020" actId="208"/>
          <ac:spMkLst>
            <pc:docMk/>
            <pc:sldMk cId="3852124055" sldId="260"/>
            <ac:spMk id="360" creationId="{CEAD7BED-88FE-2A92-91C2-5FC36DC78A85}"/>
          </ac:spMkLst>
        </pc:spChg>
        <pc:spChg chg="mod">
          <ac:chgData name="Vikram Chandna" userId="d41689e5-46d3-462a-81dc-f998aa5c3923" providerId="ADAL" clId="{A5B0E68F-2D1E-4A93-9B76-0D1049A86230}" dt="2025-04-08T02:40:47.234" v="4020" actId="208"/>
          <ac:spMkLst>
            <pc:docMk/>
            <pc:sldMk cId="3852124055" sldId="260"/>
            <ac:spMk id="361" creationId="{C94AE88A-C223-BD2F-BCA8-DD580F3F1289}"/>
          </ac:spMkLst>
        </pc:spChg>
        <pc:spChg chg="add mod">
          <ac:chgData name="Vikram Chandna" userId="d41689e5-46d3-462a-81dc-f998aa5c3923" providerId="ADAL" clId="{A5B0E68F-2D1E-4A93-9B76-0D1049A86230}" dt="2025-04-08T06:02:41.937" v="5946" actId="20577"/>
          <ac:spMkLst>
            <pc:docMk/>
            <pc:sldMk cId="3852124055" sldId="260"/>
            <ac:spMk id="386" creationId="{BA5310F4-E4F5-17B4-8766-234D9469497C}"/>
          </ac:spMkLst>
        </pc:spChg>
        <pc:spChg chg="add mod">
          <ac:chgData name="Vikram Chandna" userId="d41689e5-46d3-462a-81dc-f998aa5c3923" providerId="ADAL" clId="{A5B0E68F-2D1E-4A93-9B76-0D1049A86230}" dt="2025-04-08T06:03:07.233" v="5956" actId="20577"/>
          <ac:spMkLst>
            <pc:docMk/>
            <pc:sldMk cId="3852124055" sldId="260"/>
            <ac:spMk id="387" creationId="{9060380B-360E-C12D-4E89-A8DA77B44417}"/>
          </ac:spMkLst>
        </pc:spChg>
        <pc:spChg chg="add mod">
          <ac:chgData name="Vikram Chandna" userId="d41689e5-46d3-462a-81dc-f998aa5c3923" providerId="ADAL" clId="{A5B0E68F-2D1E-4A93-9B76-0D1049A86230}" dt="2025-04-08T06:01:59.897" v="5939" actId="2711"/>
          <ac:spMkLst>
            <pc:docMk/>
            <pc:sldMk cId="3852124055" sldId="260"/>
            <ac:spMk id="388" creationId="{31E35661-473E-E3D6-FECC-EE24C405A8CF}"/>
          </ac:spMkLst>
        </pc:spChg>
        <pc:spChg chg="add mod">
          <ac:chgData name="Vikram Chandna" userId="d41689e5-46d3-462a-81dc-f998aa5c3923" providerId="ADAL" clId="{A5B0E68F-2D1E-4A93-9B76-0D1049A86230}" dt="2025-04-08T06:03:36.207" v="5962" actId="20577"/>
          <ac:spMkLst>
            <pc:docMk/>
            <pc:sldMk cId="3852124055" sldId="260"/>
            <ac:spMk id="389" creationId="{F0D9A652-AE07-CC46-41CD-10FDAF2195B4}"/>
          </ac:spMkLst>
        </pc:spChg>
        <pc:spChg chg="add mod">
          <ac:chgData name="Vikram Chandna" userId="d41689e5-46d3-462a-81dc-f998aa5c3923" providerId="ADAL" clId="{A5B0E68F-2D1E-4A93-9B76-0D1049A86230}" dt="2025-04-08T06:02:04.605" v="5940" actId="2711"/>
          <ac:spMkLst>
            <pc:docMk/>
            <pc:sldMk cId="3852124055" sldId="260"/>
            <ac:spMk id="390" creationId="{953B8FCF-7BD3-71A8-211F-1A052DA5A87B}"/>
          </ac:spMkLst>
        </pc:spChg>
        <pc:spChg chg="add mod">
          <ac:chgData name="Vikram Chandna" userId="d41689e5-46d3-462a-81dc-f998aa5c3923" providerId="ADAL" clId="{A5B0E68F-2D1E-4A93-9B76-0D1049A86230}" dt="2025-04-08T06:02:11.492" v="5942" actId="14100"/>
          <ac:spMkLst>
            <pc:docMk/>
            <pc:sldMk cId="3852124055" sldId="260"/>
            <ac:spMk id="391" creationId="{38AB3F33-9DF8-AFE7-B2D3-0B2777309B9C}"/>
          </ac:spMkLst>
        </pc:spChg>
        <pc:spChg chg="add mod ord">
          <ac:chgData name="Vikram Chandna" userId="d41689e5-46d3-462a-81dc-f998aa5c3923" providerId="ADAL" clId="{A5B0E68F-2D1E-4A93-9B76-0D1049A86230}" dt="2025-04-08T04:42:55.440" v="5510" actId="1038"/>
          <ac:spMkLst>
            <pc:docMk/>
            <pc:sldMk cId="3852124055" sldId="260"/>
            <ac:spMk id="393" creationId="{117C0941-1D53-05B6-F33C-5E48C21BD820}"/>
          </ac:spMkLst>
        </pc:spChg>
        <pc:spChg chg="add mod ord">
          <ac:chgData name="Vikram Chandna" userId="d41689e5-46d3-462a-81dc-f998aa5c3923" providerId="ADAL" clId="{A5B0E68F-2D1E-4A93-9B76-0D1049A86230}" dt="2025-04-08T04:42:56.812" v="5511" actId="1037"/>
          <ac:spMkLst>
            <pc:docMk/>
            <pc:sldMk cId="3852124055" sldId="260"/>
            <ac:spMk id="394" creationId="{FA38D781-6C20-9000-90F1-728C1F9CD04C}"/>
          </ac:spMkLst>
        </pc:spChg>
        <pc:spChg chg="add mod ord">
          <ac:chgData name="Vikram Chandna" userId="d41689e5-46d3-462a-81dc-f998aa5c3923" providerId="ADAL" clId="{A5B0E68F-2D1E-4A93-9B76-0D1049A86230}" dt="2025-04-08T04:43:41.650" v="5512" actId="14100"/>
          <ac:spMkLst>
            <pc:docMk/>
            <pc:sldMk cId="3852124055" sldId="260"/>
            <ac:spMk id="395" creationId="{E0B3E917-AB4E-7A3F-9908-BA8EF09FE94B}"/>
          </ac:spMkLst>
        </pc:spChg>
        <pc:spChg chg="mod">
          <ac:chgData name="Vikram Chandna" userId="d41689e5-46d3-462a-81dc-f998aa5c3923" providerId="ADAL" clId="{A5B0E68F-2D1E-4A93-9B76-0D1049A86230}" dt="2025-04-08T02:40:49.184" v="4021" actId="208"/>
          <ac:spMkLst>
            <pc:docMk/>
            <pc:sldMk cId="3852124055" sldId="260"/>
            <ac:spMk id="426" creationId="{667790D1-DB62-38DE-0BE1-500261567EF8}"/>
          </ac:spMkLst>
        </pc:spChg>
        <pc:spChg chg="mod">
          <ac:chgData name="Vikram Chandna" userId="d41689e5-46d3-462a-81dc-f998aa5c3923" providerId="ADAL" clId="{A5B0E68F-2D1E-4A93-9B76-0D1049A86230}" dt="2025-04-08T02:40:49.184" v="4021" actId="208"/>
          <ac:spMkLst>
            <pc:docMk/>
            <pc:sldMk cId="3852124055" sldId="260"/>
            <ac:spMk id="427" creationId="{38A47224-D248-C637-A930-E177DF47E501}"/>
          </ac:spMkLst>
        </pc:spChg>
        <pc:spChg chg="mod">
          <ac:chgData name="Vikram Chandna" userId="d41689e5-46d3-462a-81dc-f998aa5c3923" providerId="ADAL" clId="{A5B0E68F-2D1E-4A93-9B76-0D1049A86230}" dt="2025-04-08T02:40:49.184" v="4021" actId="208"/>
          <ac:spMkLst>
            <pc:docMk/>
            <pc:sldMk cId="3852124055" sldId="260"/>
            <ac:spMk id="428" creationId="{5D71AE54-5608-F9E9-9A74-79CE8AD4513E}"/>
          </ac:spMkLst>
        </pc:spChg>
        <pc:spChg chg="mod">
          <ac:chgData name="Vikram Chandna" userId="d41689e5-46d3-462a-81dc-f998aa5c3923" providerId="ADAL" clId="{A5B0E68F-2D1E-4A93-9B76-0D1049A86230}" dt="2025-04-07T15:47:06.256" v="3757" actId="208"/>
          <ac:spMkLst>
            <pc:docMk/>
            <pc:sldMk cId="3852124055" sldId="260"/>
            <ac:spMk id="429" creationId="{FA347FD3-EC3C-F16D-4A34-1627922CE063}"/>
          </ac:spMkLst>
        </pc:spChg>
        <pc:spChg chg="mod">
          <ac:chgData name="Vikram Chandna" userId="d41689e5-46d3-462a-81dc-f998aa5c3923" providerId="ADAL" clId="{A5B0E68F-2D1E-4A93-9B76-0D1049A86230}" dt="2025-04-08T02:40:49.184" v="4021" actId="208"/>
          <ac:spMkLst>
            <pc:docMk/>
            <pc:sldMk cId="3852124055" sldId="260"/>
            <ac:spMk id="430" creationId="{DA9748B5-3780-F1CC-15D5-EDCA020C42EF}"/>
          </ac:spMkLst>
        </pc:spChg>
        <pc:spChg chg="mod">
          <ac:chgData name="Vikram Chandna" userId="d41689e5-46d3-462a-81dc-f998aa5c3923" providerId="ADAL" clId="{A5B0E68F-2D1E-4A93-9B76-0D1049A86230}" dt="2025-04-08T02:40:49.184" v="4021" actId="208"/>
          <ac:spMkLst>
            <pc:docMk/>
            <pc:sldMk cId="3852124055" sldId="260"/>
            <ac:spMk id="431" creationId="{1C79B49D-6F0B-B82B-82CF-D2D06FE6BB16}"/>
          </ac:spMkLst>
        </pc:spChg>
        <pc:spChg chg="mod">
          <ac:chgData name="Vikram Chandna" userId="d41689e5-46d3-462a-81dc-f998aa5c3923" providerId="ADAL" clId="{A5B0E68F-2D1E-4A93-9B76-0D1049A86230}" dt="2025-04-08T02:40:49.184" v="4021" actId="208"/>
          <ac:spMkLst>
            <pc:docMk/>
            <pc:sldMk cId="3852124055" sldId="260"/>
            <ac:spMk id="432" creationId="{39F83C33-F4CE-389E-4976-913DE70F7314}"/>
          </ac:spMkLst>
        </pc:spChg>
        <pc:spChg chg="mod">
          <ac:chgData name="Vikram Chandna" userId="d41689e5-46d3-462a-81dc-f998aa5c3923" providerId="ADAL" clId="{A5B0E68F-2D1E-4A93-9B76-0D1049A86230}" dt="2025-04-07T15:57:13.574" v="3876" actId="208"/>
          <ac:spMkLst>
            <pc:docMk/>
            <pc:sldMk cId="3852124055" sldId="260"/>
            <ac:spMk id="433" creationId="{0E712343-C844-EF2A-D0AA-0FD12AE06AA9}"/>
          </ac:spMkLst>
        </pc:spChg>
        <pc:spChg chg="mod">
          <ac:chgData name="Vikram Chandna" userId="d41689e5-46d3-462a-81dc-f998aa5c3923" providerId="ADAL" clId="{A5B0E68F-2D1E-4A93-9B76-0D1049A86230}" dt="2025-04-07T09:24:58.499" v="1515" actId="208"/>
          <ac:spMkLst>
            <pc:docMk/>
            <pc:sldMk cId="3852124055" sldId="260"/>
            <ac:spMk id="434" creationId="{0A3A627F-44C8-5118-B4DA-0CBEB7B7257E}"/>
          </ac:spMkLst>
        </pc:spChg>
        <pc:spChg chg="mod">
          <ac:chgData name="Vikram Chandna" userId="d41689e5-46d3-462a-81dc-f998aa5c3923" providerId="ADAL" clId="{A5B0E68F-2D1E-4A93-9B76-0D1049A86230}" dt="2025-04-08T03:34:12.638" v="5000" actId="1038"/>
          <ac:spMkLst>
            <pc:docMk/>
            <pc:sldMk cId="3852124055" sldId="260"/>
            <ac:spMk id="435" creationId="{14015299-C1B1-9CE7-226D-2CE78E97A43D}"/>
          </ac:spMkLst>
        </pc:spChg>
        <pc:spChg chg="mod">
          <ac:chgData name="Vikram Chandna" userId="d41689e5-46d3-462a-81dc-f998aa5c3923" providerId="ADAL" clId="{A5B0E68F-2D1E-4A93-9B76-0D1049A86230}" dt="2025-04-07T09:24:58.499" v="1515" actId="208"/>
          <ac:spMkLst>
            <pc:docMk/>
            <pc:sldMk cId="3852124055" sldId="260"/>
            <ac:spMk id="436" creationId="{D55EEFBA-92D6-4644-79F3-BDD30E39B782}"/>
          </ac:spMkLst>
        </pc:spChg>
        <pc:spChg chg="mod">
          <ac:chgData name="Vikram Chandna" userId="d41689e5-46d3-462a-81dc-f998aa5c3923" providerId="ADAL" clId="{A5B0E68F-2D1E-4A93-9B76-0D1049A86230}" dt="2025-04-08T02:40:49.184" v="4021" actId="208"/>
          <ac:spMkLst>
            <pc:docMk/>
            <pc:sldMk cId="3852124055" sldId="260"/>
            <ac:spMk id="438" creationId="{F2A3FDAD-D379-D250-D542-3FE043B810EC}"/>
          </ac:spMkLst>
        </pc:spChg>
        <pc:spChg chg="mod">
          <ac:chgData name="Vikram Chandna" userId="d41689e5-46d3-462a-81dc-f998aa5c3923" providerId="ADAL" clId="{A5B0E68F-2D1E-4A93-9B76-0D1049A86230}" dt="2025-04-07T09:24:58.499" v="1515" actId="208"/>
          <ac:spMkLst>
            <pc:docMk/>
            <pc:sldMk cId="3852124055" sldId="260"/>
            <ac:spMk id="439" creationId="{D558C66A-291E-A5DF-C2D0-C203CD8CD709}"/>
          </ac:spMkLst>
        </pc:spChg>
        <pc:spChg chg="mod">
          <ac:chgData name="Vikram Chandna" userId="d41689e5-46d3-462a-81dc-f998aa5c3923" providerId="ADAL" clId="{A5B0E68F-2D1E-4A93-9B76-0D1049A86230}" dt="2025-04-07T15:46:57.421" v="3756" actId="207"/>
          <ac:spMkLst>
            <pc:docMk/>
            <pc:sldMk cId="3852124055" sldId="260"/>
            <ac:spMk id="440" creationId="{CE91CA82-9D7D-8532-232C-75D55BEEA27F}"/>
          </ac:spMkLst>
        </pc:spChg>
        <pc:spChg chg="mod">
          <ac:chgData name="Vikram Chandna" userId="d41689e5-46d3-462a-81dc-f998aa5c3923" providerId="ADAL" clId="{A5B0E68F-2D1E-4A93-9B76-0D1049A86230}" dt="2025-04-08T03:34:12.638" v="5000" actId="1038"/>
          <ac:spMkLst>
            <pc:docMk/>
            <pc:sldMk cId="3852124055" sldId="260"/>
            <ac:spMk id="441" creationId="{4E6EB39F-DB01-15AA-C156-D00811FCB226}"/>
          </ac:spMkLst>
        </pc:spChg>
        <pc:spChg chg="mod">
          <ac:chgData name="Vikram Chandna" userId="d41689e5-46d3-462a-81dc-f998aa5c3923" providerId="ADAL" clId="{A5B0E68F-2D1E-4A93-9B76-0D1049A86230}" dt="2025-04-07T15:47:06.256" v="3757" actId="208"/>
          <ac:spMkLst>
            <pc:docMk/>
            <pc:sldMk cId="3852124055" sldId="260"/>
            <ac:spMk id="442" creationId="{7665BC7C-1246-ED51-6509-4F20B942454F}"/>
          </ac:spMkLst>
        </pc:spChg>
        <pc:spChg chg="mod">
          <ac:chgData name="Vikram Chandna" userId="d41689e5-46d3-462a-81dc-f998aa5c3923" providerId="ADAL" clId="{A5B0E68F-2D1E-4A93-9B76-0D1049A86230}" dt="2025-04-08T02:40:49.184" v="4021" actId="208"/>
          <ac:spMkLst>
            <pc:docMk/>
            <pc:sldMk cId="3852124055" sldId="260"/>
            <ac:spMk id="443" creationId="{A9DC9B0B-364C-436F-DDAE-D60178F7A8A5}"/>
          </ac:spMkLst>
        </pc:spChg>
        <pc:spChg chg="mod">
          <ac:chgData name="Vikram Chandna" userId="d41689e5-46d3-462a-81dc-f998aa5c3923" providerId="ADAL" clId="{A5B0E68F-2D1E-4A93-9B76-0D1049A86230}" dt="2025-04-07T09:24:58.499" v="1515" actId="208"/>
          <ac:spMkLst>
            <pc:docMk/>
            <pc:sldMk cId="3852124055" sldId="260"/>
            <ac:spMk id="444" creationId="{B1180BC7-447D-92EB-C8D8-19DB7532E202}"/>
          </ac:spMkLst>
        </pc:spChg>
        <pc:spChg chg="mod">
          <ac:chgData name="Vikram Chandna" userId="d41689e5-46d3-462a-81dc-f998aa5c3923" providerId="ADAL" clId="{A5B0E68F-2D1E-4A93-9B76-0D1049A86230}" dt="2025-04-08T02:40:49.184" v="4021" actId="208"/>
          <ac:spMkLst>
            <pc:docMk/>
            <pc:sldMk cId="3852124055" sldId="260"/>
            <ac:spMk id="445" creationId="{A994B5BB-9FC4-03F3-0289-FB53BD196671}"/>
          </ac:spMkLst>
        </pc:spChg>
        <pc:spChg chg="mod">
          <ac:chgData name="Vikram Chandna" userId="d41689e5-46d3-462a-81dc-f998aa5c3923" providerId="ADAL" clId="{A5B0E68F-2D1E-4A93-9B76-0D1049A86230}" dt="2025-04-07T15:47:06.256" v="3757" actId="208"/>
          <ac:spMkLst>
            <pc:docMk/>
            <pc:sldMk cId="3852124055" sldId="260"/>
            <ac:spMk id="446" creationId="{FC846EE9-C5F0-7B63-6517-0F4F859DC071}"/>
          </ac:spMkLst>
        </pc:spChg>
        <pc:spChg chg="mod">
          <ac:chgData name="Vikram Chandna" userId="d41689e5-46d3-462a-81dc-f998aa5c3923" providerId="ADAL" clId="{A5B0E68F-2D1E-4A93-9B76-0D1049A86230}" dt="2025-04-07T09:24:58.499" v="1515" actId="208"/>
          <ac:spMkLst>
            <pc:docMk/>
            <pc:sldMk cId="3852124055" sldId="260"/>
            <ac:spMk id="450" creationId="{9D986FFF-0113-7853-88A7-C16A437A07A4}"/>
          </ac:spMkLst>
        </pc:spChg>
        <pc:spChg chg="mod">
          <ac:chgData name="Vikram Chandna" userId="d41689e5-46d3-462a-81dc-f998aa5c3923" providerId="ADAL" clId="{A5B0E68F-2D1E-4A93-9B76-0D1049A86230}" dt="2025-04-08T03:34:12.638" v="5000" actId="1038"/>
          <ac:spMkLst>
            <pc:docMk/>
            <pc:sldMk cId="3852124055" sldId="260"/>
            <ac:spMk id="451" creationId="{DC0ED4D0-71C8-C0D2-7915-6E9FFECF6A99}"/>
          </ac:spMkLst>
        </pc:spChg>
        <pc:spChg chg="mod">
          <ac:chgData name="Vikram Chandna" userId="d41689e5-46d3-462a-81dc-f998aa5c3923" providerId="ADAL" clId="{A5B0E68F-2D1E-4A93-9B76-0D1049A86230}" dt="2025-04-08T02:40:50.456" v="4022" actId="208"/>
          <ac:spMkLst>
            <pc:docMk/>
            <pc:sldMk cId="3852124055" sldId="260"/>
            <ac:spMk id="453" creationId="{0A17B4E6-B380-6357-5B08-F1958E53A2BC}"/>
          </ac:spMkLst>
        </pc:spChg>
        <pc:spChg chg="mod">
          <ac:chgData name="Vikram Chandna" userId="d41689e5-46d3-462a-81dc-f998aa5c3923" providerId="ADAL" clId="{A5B0E68F-2D1E-4A93-9B76-0D1049A86230}" dt="2025-04-08T02:40:50.456" v="4022" actId="208"/>
          <ac:spMkLst>
            <pc:docMk/>
            <pc:sldMk cId="3852124055" sldId="260"/>
            <ac:spMk id="459" creationId="{E401F4E1-834F-6E4A-655A-9D7D07E780D6}"/>
          </ac:spMkLst>
        </pc:spChg>
        <pc:spChg chg="mod">
          <ac:chgData name="Vikram Chandna" userId="d41689e5-46d3-462a-81dc-f998aa5c3923" providerId="ADAL" clId="{A5B0E68F-2D1E-4A93-9B76-0D1049A86230}" dt="2025-04-08T03:34:12.638" v="5000" actId="1038"/>
          <ac:spMkLst>
            <pc:docMk/>
            <pc:sldMk cId="3852124055" sldId="260"/>
            <ac:spMk id="460" creationId="{8A3544CE-0B81-3919-C110-05320DF2E0DC}"/>
          </ac:spMkLst>
        </pc:spChg>
        <pc:spChg chg="mod">
          <ac:chgData name="Vikram Chandna" userId="d41689e5-46d3-462a-81dc-f998aa5c3923" providerId="ADAL" clId="{A5B0E68F-2D1E-4A93-9B76-0D1049A86230}" dt="2025-04-08T02:40:50.456" v="4022" actId="208"/>
          <ac:spMkLst>
            <pc:docMk/>
            <pc:sldMk cId="3852124055" sldId="260"/>
            <ac:spMk id="461" creationId="{4629E01F-5E62-5C15-9126-D15A1894081A}"/>
          </ac:spMkLst>
        </pc:spChg>
        <pc:spChg chg="mod">
          <ac:chgData name="Vikram Chandna" userId="d41689e5-46d3-462a-81dc-f998aa5c3923" providerId="ADAL" clId="{A5B0E68F-2D1E-4A93-9B76-0D1049A86230}" dt="2025-04-08T02:40:50.456" v="4022" actId="208"/>
          <ac:spMkLst>
            <pc:docMk/>
            <pc:sldMk cId="3852124055" sldId="260"/>
            <ac:spMk id="462" creationId="{6C6CDB0E-F983-1947-E8EF-388A4389AAB3}"/>
          </ac:spMkLst>
        </pc:spChg>
        <pc:spChg chg="mod">
          <ac:chgData name="Vikram Chandna" userId="d41689e5-46d3-462a-81dc-f998aa5c3923" providerId="ADAL" clId="{A5B0E68F-2D1E-4A93-9B76-0D1049A86230}" dt="2025-04-07T15:47:09.970" v="3758" actId="208"/>
          <ac:spMkLst>
            <pc:docMk/>
            <pc:sldMk cId="3852124055" sldId="260"/>
            <ac:spMk id="464" creationId="{84EFFCC0-4550-1F39-DEAC-1B0979F76230}"/>
          </ac:spMkLst>
        </pc:spChg>
        <pc:spChg chg="mod">
          <ac:chgData name="Vikram Chandna" userId="d41689e5-46d3-462a-81dc-f998aa5c3923" providerId="ADAL" clId="{A5B0E68F-2D1E-4A93-9B76-0D1049A86230}" dt="2025-04-08T02:40:50.456" v="4022" actId="208"/>
          <ac:spMkLst>
            <pc:docMk/>
            <pc:sldMk cId="3852124055" sldId="260"/>
            <ac:spMk id="467" creationId="{27C25D73-3EE4-63E8-3A14-6B8CCEC26A5C}"/>
          </ac:spMkLst>
        </pc:spChg>
        <pc:spChg chg="mod">
          <ac:chgData name="Vikram Chandna" userId="d41689e5-46d3-462a-81dc-f998aa5c3923" providerId="ADAL" clId="{A5B0E68F-2D1E-4A93-9B76-0D1049A86230}" dt="2025-04-07T15:47:09.970" v="3758" actId="208"/>
          <ac:spMkLst>
            <pc:docMk/>
            <pc:sldMk cId="3852124055" sldId="260"/>
            <ac:spMk id="469" creationId="{FEFE4DD2-BA89-FFDF-3956-99DDB98DFD33}"/>
          </ac:spMkLst>
        </pc:spChg>
        <pc:spChg chg="mod">
          <ac:chgData name="Vikram Chandna" userId="d41689e5-46d3-462a-81dc-f998aa5c3923" providerId="ADAL" clId="{A5B0E68F-2D1E-4A93-9B76-0D1049A86230}" dt="2025-04-08T02:40:50.456" v="4022" actId="208"/>
          <ac:spMkLst>
            <pc:docMk/>
            <pc:sldMk cId="3852124055" sldId="260"/>
            <ac:spMk id="470" creationId="{D4F59BFA-0D96-9CA3-FD23-6751BDE177FC}"/>
          </ac:spMkLst>
        </pc:spChg>
        <pc:spChg chg="mod">
          <ac:chgData name="Vikram Chandna" userId="d41689e5-46d3-462a-81dc-f998aa5c3923" providerId="ADAL" clId="{A5B0E68F-2D1E-4A93-9B76-0D1049A86230}" dt="2025-04-07T09:24:55.973" v="1513" actId="208"/>
          <ac:spMkLst>
            <pc:docMk/>
            <pc:sldMk cId="3852124055" sldId="260"/>
            <ac:spMk id="471" creationId="{1D7FA8E9-6F9E-9E77-337E-649D56E542B6}"/>
          </ac:spMkLst>
        </pc:spChg>
        <pc:spChg chg="mod">
          <ac:chgData name="Vikram Chandna" userId="d41689e5-46d3-462a-81dc-f998aa5c3923" providerId="ADAL" clId="{A5B0E68F-2D1E-4A93-9B76-0D1049A86230}" dt="2025-04-07T09:24:55.973" v="1513" actId="208"/>
          <ac:spMkLst>
            <pc:docMk/>
            <pc:sldMk cId="3852124055" sldId="260"/>
            <ac:spMk id="472" creationId="{CF8D1EB5-FB8C-18B7-7574-5E9B7C0E1188}"/>
          </ac:spMkLst>
        </pc:spChg>
        <pc:spChg chg="mod">
          <ac:chgData name="Vikram Chandna" userId="d41689e5-46d3-462a-81dc-f998aa5c3923" providerId="ADAL" clId="{A5B0E68F-2D1E-4A93-9B76-0D1049A86230}" dt="2025-04-07T09:24:55.973" v="1513" actId="208"/>
          <ac:spMkLst>
            <pc:docMk/>
            <pc:sldMk cId="3852124055" sldId="260"/>
            <ac:spMk id="473" creationId="{44EDB449-9582-AA93-3858-F4C4B38B3DFC}"/>
          </ac:spMkLst>
        </pc:spChg>
        <pc:spChg chg="mod">
          <ac:chgData name="Vikram Chandna" userId="d41689e5-46d3-462a-81dc-f998aa5c3923" providerId="ADAL" clId="{A5B0E68F-2D1E-4A93-9B76-0D1049A86230}" dt="2025-04-07T15:46:57.421" v="3756" actId="207"/>
          <ac:spMkLst>
            <pc:docMk/>
            <pc:sldMk cId="3852124055" sldId="260"/>
            <ac:spMk id="474" creationId="{986AFCA6-7DFD-9878-7AC6-4C8ECFFD0EED}"/>
          </ac:spMkLst>
        </pc:spChg>
        <pc:spChg chg="mod">
          <ac:chgData name="Vikram Chandna" userId="d41689e5-46d3-462a-81dc-f998aa5c3923" providerId="ADAL" clId="{A5B0E68F-2D1E-4A93-9B76-0D1049A86230}" dt="2025-04-07T15:47:09.970" v="3758" actId="208"/>
          <ac:spMkLst>
            <pc:docMk/>
            <pc:sldMk cId="3852124055" sldId="260"/>
            <ac:spMk id="476" creationId="{E1FBE38C-D5FD-5DB3-B85E-38AD46BE4B21}"/>
          </ac:spMkLst>
        </pc:spChg>
        <pc:spChg chg="mod">
          <ac:chgData name="Vikram Chandna" userId="d41689e5-46d3-462a-81dc-f998aa5c3923" providerId="ADAL" clId="{A5B0E68F-2D1E-4A93-9B76-0D1049A86230}" dt="2025-04-07T15:47:09.970" v="3758" actId="208"/>
          <ac:spMkLst>
            <pc:docMk/>
            <pc:sldMk cId="3852124055" sldId="260"/>
            <ac:spMk id="478" creationId="{610C9CA2-4C3D-0EFF-EEEA-CA8CBA8B67CC}"/>
          </ac:spMkLst>
        </pc:spChg>
        <pc:spChg chg="mod">
          <ac:chgData name="Vikram Chandna" userId="d41689e5-46d3-462a-81dc-f998aa5c3923" providerId="ADAL" clId="{A5B0E68F-2D1E-4A93-9B76-0D1049A86230}" dt="2025-04-07T15:46:57.421" v="3756" actId="207"/>
          <ac:spMkLst>
            <pc:docMk/>
            <pc:sldMk cId="3852124055" sldId="260"/>
            <ac:spMk id="479" creationId="{58465877-2B19-089A-92FF-569D0F8D38D5}"/>
          </ac:spMkLst>
        </pc:spChg>
        <pc:spChg chg="mod">
          <ac:chgData name="Vikram Chandna" userId="d41689e5-46d3-462a-81dc-f998aa5c3923" providerId="ADAL" clId="{A5B0E68F-2D1E-4A93-9B76-0D1049A86230}" dt="2025-04-08T02:40:50.456" v="4022" actId="208"/>
          <ac:spMkLst>
            <pc:docMk/>
            <pc:sldMk cId="3852124055" sldId="260"/>
            <ac:spMk id="481" creationId="{0A26E7A9-D5EA-7F0F-F19A-371BED83ABCE}"/>
          </ac:spMkLst>
        </pc:spChg>
        <pc:spChg chg="mod">
          <ac:chgData name="Vikram Chandna" userId="d41689e5-46d3-462a-81dc-f998aa5c3923" providerId="ADAL" clId="{A5B0E68F-2D1E-4A93-9B76-0D1049A86230}" dt="2025-04-08T02:40:50.456" v="4022" actId="208"/>
          <ac:spMkLst>
            <pc:docMk/>
            <pc:sldMk cId="3852124055" sldId="260"/>
            <ac:spMk id="482" creationId="{7654CF4C-DB73-3716-979F-40FB97862E0E}"/>
          </ac:spMkLst>
        </pc:spChg>
        <pc:spChg chg="mod">
          <ac:chgData name="Vikram Chandna" userId="d41689e5-46d3-462a-81dc-f998aa5c3923" providerId="ADAL" clId="{A5B0E68F-2D1E-4A93-9B76-0D1049A86230}" dt="2025-04-07T15:47:09.970" v="3758" actId="208"/>
          <ac:spMkLst>
            <pc:docMk/>
            <pc:sldMk cId="3852124055" sldId="260"/>
            <ac:spMk id="483" creationId="{21757C95-7471-A257-2B96-D42C747F4515}"/>
          </ac:spMkLst>
        </pc:spChg>
        <pc:spChg chg="mod">
          <ac:chgData name="Vikram Chandna" userId="d41689e5-46d3-462a-81dc-f998aa5c3923" providerId="ADAL" clId="{A5B0E68F-2D1E-4A93-9B76-0D1049A86230}" dt="2025-04-08T02:40:50.456" v="4022" actId="208"/>
          <ac:spMkLst>
            <pc:docMk/>
            <pc:sldMk cId="3852124055" sldId="260"/>
            <ac:spMk id="484" creationId="{89149CB3-BA70-827A-BBE5-272867BF944E}"/>
          </ac:spMkLst>
        </pc:spChg>
        <pc:spChg chg="mod">
          <ac:chgData name="Vikram Chandna" userId="d41689e5-46d3-462a-81dc-f998aa5c3923" providerId="ADAL" clId="{A5B0E68F-2D1E-4A93-9B76-0D1049A86230}" dt="2025-04-07T15:47:09.970" v="3758" actId="208"/>
          <ac:spMkLst>
            <pc:docMk/>
            <pc:sldMk cId="3852124055" sldId="260"/>
            <ac:spMk id="485" creationId="{5E4A3D55-1B59-2782-68DC-B614564EA6C5}"/>
          </ac:spMkLst>
        </pc:spChg>
        <pc:spChg chg="mod">
          <ac:chgData name="Vikram Chandna" userId="d41689e5-46d3-462a-81dc-f998aa5c3923" providerId="ADAL" clId="{A5B0E68F-2D1E-4A93-9B76-0D1049A86230}" dt="2025-04-07T09:24:55.973" v="1513" actId="208"/>
          <ac:spMkLst>
            <pc:docMk/>
            <pc:sldMk cId="3852124055" sldId="260"/>
            <ac:spMk id="486" creationId="{E97D3469-8C11-0CDB-E049-602976EDF9CF}"/>
          </ac:spMkLst>
        </pc:spChg>
        <pc:spChg chg="mod">
          <ac:chgData name="Vikram Chandna" userId="d41689e5-46d3-462a-81dc-f998aa5c3923" providerId="ADAL" clId="{A5B0E68F-2D1E-4A93-9B76-0D1049A86230}" dt="2025-04-07T15:57:13.574" v="3876" actId="208"/>
          <ac:spMkLst>
            <pc:docMk/>
            <pc:sldMk cId="3852124055" sldId="260"/>
            <ac:spMk id="487" creationId="{A4E058EE-37F5-5A8D-4275-DFB5AFEF3DE1}"/>
          </ac:spMkLst>
        </pc:spChg>
        <pc:spChg chg="mod">
          <ac:chgData name="Vikram Chandna" userId="d41689e5-46d3-462a-81dc-f998aa5c3923" providerId="ADAL" clId="{A5B0E68F-2D1E-4A93-9B76-0D1049A86230}" dt="2025-04-07T09:24:55.973" v="1513" actId="208"/>
          <ac:spMkLst>
            <pc:docMk/>
            <pc:sldMk cId="3852124055" sldId="260"/>
            <ac:spMk id="489" creationId="{E8F439C8-CA63-E759-EE06-785A3F8ABFB6}"/>
          </ac:spMkLst>
        </pc:spChg>
        <pc:spChg chg="mod">
          <ac:chgData name="Vikram Chandna" userId="d41689e5-46d3-462a-81dc-f998aa5c3923" providerId="ADAL" clId="{A5B0E68F-2D1E-4A93-9B76-0D1049A86230}" dt="2025-04-08T02:40:50.456" v="4022" actId="208"/>
          <ac:spMkLst>
            <pc:docMk/>
            <pc:sldMk cId="3852124055" sldId="260"/>
            <ac:spMk id="491" creationId="{1F32BC3E-02B6-DF61-248E-5321ECF6AF15}"/>
          </ac:spMkLst>
        </pc:spChg>
        <pc:spChg chg="mod">
          <ac:chgData name="Vikram Chandna" userId="d41689e5-46d3-462a-81dc-f998aa5c3923" providerId="ADAL" clId="{A5B0E68F-2D1E-4A93-9B76-0D1049A86230}" dt="2025-04-07T15:46:57.421" v="3756" actId="207"/>
          <ac:spMkLst>
            <pc:docMk/>
            <pc:sldMk cId="3852124055" sldId="260"/>
            <ac:spMk id="492" creationId="{F4EEAF49-B18A-256F-4409-4A1BF1A654DF}"/>
          </ac:spMkLst>
        </pc:spChg>
        <pc:spChg chg="mod">
          <ac:chgData name="Vikram Chandna" userId="d41689e5-46d3-462a-81dc-f998aa5c3923" providerId="ADAL" clId="{A5B0E68F-2D1E-4A93-9B76-0D1049A86230}" dt="2025-04-08T02:40:55.922" v="4025" actId="208"/>
          <ac:spMkLst>
            <pc:docMk/>
            <pc:sldMk cId="3852124055" sldId="260"/>
            <ac:spMk id="494" creationId="{0A44E930-3672-DDDA-0512-A75F89755D1D}"/>
          </ac:spMkLst>
        </pc:spChg>
        <pc:spChg chg="mod">
          <ac:chgData name="Vikram Chandna" userId="d41689e5-46d3-462a-81dc-f998aa5c3923" providerId="ADAL" clId="{A5B0E68F-2D1E-4A93-9B76-0D1049A86230}" dt="2025-04-07T15:47:09.970" v="3758" actId="208"/>
          <ac:spMkLst>
            <pc:docMk/>
            <pc:sldMk cId="3852124055" sldId="260"/>
            <ac:spMk id="496" creationId="{336E458C-FDDB-754E-5D6F-1E36D86C23D5}"/>
          </ac:spMkLst>
        </pc:spChg>
        <pc:spChg chg="mod">
          <ac:chgData name="Vikram Chandna" userId="d41689e5-46d3-462a-81dc-f998aa5c3923" providerId="ADAL" clId="{A5B0E68F-2D1E-4A93-9B76-0D1049A86230}" dt="2025-04-07T09:24:57.298" v="1514" actId="208"/>
          <ac:spMkLst>
            <pc:docMk/>
            <pc:sldMk cId="3852124055" sldId="260"/>
            <ac:spMk id="497" creationId="{9BF6E05E-6074-2A81-BA1C-802BAFFAE9C6}"/>
          </ac:spMkLst>
        </pc:spChg>
        <pc:spChg chg="mod">
          <ac:chgData name="Vikram Chandna" userId="d41689e5-46d3-462a-81dc-f998aa5c3923" providerId="ADAL" clId="{A5B0E68F-2D1E-4A93-9B76-0D1049A86230}" dt="2025-04-08T02:40:55.922" v="4025" actId="208"/>
          <ac:spMkLst>
            <pc:docMk/>
            <pc:sldMk cId="3852124055" sldId="260"/>
            <ac:spMk id="498" creationId="{E54FC1B9-3DC0-9182-5862-4C4BA26D4009}"/>
          </ac:spMkLst>
        </pc:spChg>
        <pc:spChg chg="mod">
          <ac:chgData name="Vikram Chandna" userId="d41689e5-46d3-462a-81dc-f998aa5c3923" providerId="ADAL" clId="{A5B0E68F-2D1E-4A93-9B76-0D1049A86230}" dt="2025-04-08T03:34:12.638" v="5000" actId="1038"/>
          <ac:spMkLst>
            <pc:docMk/>
            <pc:sldMk cId="3852124055" sldId="260"/>
            <ac:spMk id="499" creationId="{715BB90D-42B5-DD63-0AD1-4BE24BE73A4A}"/>
          </ac:spMkLst>
        </pc:spChg>
        <pc:spChg chg="mod">
          <ac:chgData name="Vikram Chandna" userId="d41689e5-46d3-462a-81dc-f998aa5c3923" providerId="ADAL" clId="{A5B0E68F-2D1E-4A93-9B76-0D1049A86230}" dt="2025-04-07T15:47:09.970" v="3758" actId="208"/>
          <ac:spMkLst>
            <pc:docMk/>
            <pc:sldMk cId="3852124055" sldId="260"/>
            <ac:spMk id="500" creationId="{851F7C28-56B5-FC33-6F7B-B09E720D79FF}"/>
          </ac:spMkLst>
        </pc:spChg>
        <pc:spChg chg="mod">
          <ac:chgData name="Vikram Chandna" userId="d41689e5-46d3-462a-81dc-f998aa5c3923" providerId="ADAL" clId="{A5B0E68F-2D1E-4A93-9B76-0D1049A86230}" dt="2025-04-08T02:40:55.922" v="4025" actId="208"/>
          <ac:spMkLst>
            <pc:docMk/>
            <pc:sldMk cId="3852124055" sldId="260"/>
            <ac:spMk id="501" creationId="{51A40F4A-6DD9-1306-38E7-0C567B45C419}"/>
          </ac:spMkLst>
        </pc:spChg>
        <pc:spChg chg="mod">
          <ac:chgData name="Vikram Chandna" userId="d41689e5-46d3-462a-81dc-f998aa5c3923" providerId="ADAL" clId="{A5B0E68F-2D1E-4A93-9B76-0D1049A86230}" dt="2025-04-08T02:40:55.922" v="4025" actId="208"/>
          <ac:spMkLst>
            <pc:docMk/>
            <pc:sldMk cId="3852124055" sldId="260"/>
            <ac:spMk id="502" creationId="{34FFDFAB-C0B5-0FB6-DB2F-8016C0CF5D40}"/>
          </ac:spMkLst>
        </pc:spChg>
        <pc:spChg chg="mod">
          <ac:chgData name="Vikram Chandna" userId="d41689e5-46d3-462a-81dc-f998aa5c3923" providerId="ADAL" clId="{A5B0E68F-2D1E-4A93-9B76-0D1049A86230}" dt="2025-04-07T15:57:13.574" v="3876" actId="208"/>
          <ac:spMkLst>
            <pc:docMk/>
            <pc:sldMk cId="3852124055" sldId="260"/>
            <ac:spMk id="504" creationId="{3EBEBE95-1B73-E0AE-5F9B-B8113B2D461A}"/>
          </ac:spMkLst>
        </pc:spChg>
        <pc:spChg chg="mod">
          <ac:chgData name="Vikram Chandna" userId="d41689e5-46d3-462a-81dc-f998aa5c3923" providerId="ADAL" clId="{A5B0E68F-2D1E-4A93-9B76-0D1049A86230}" dt="2025-04-08T02:40:55.922" v="4025" actId="208"/>
          <ac:spMkLst>
            <pc:docMk/>
            <pc:sldMk cId="3852124055" sldId="260"/>
            <ac:spMk id="505" creationId="{2F8F3BC9-8565-E568-3B7A-2CBF595CA5ED}"/>
          </ac:spMkLst>
        </pc:spChg>
        <pc:spChg chg="mod">
          <ac:chgData name="Vikram Chandna" userId="d41689e5-46d3-462a-81dc-f998aa5c3923" providerId="ADAL" clId="{A5B0E68F-2D1E-4A93-9B76-0D1049A86230}" dt="2025-04-08T02:40:55.922" v="4025" actId="208"/>
          <ac:spMkLst>
            <pc:docMk/>
            <pc:sldMk cId="3852124055" sldId="260"/>
            <ac:spMk id="506" creationId="{A575CA78-BB0B-6B0F-D897-D5536412BAA0}"/>
          </ac:spMkLst>
        </pc:spChg>
        <pc:spChg chg="mod">
          <ac:chgData name="Vikram Chandna" userId="d41689e5-46d3-462a-81dc-f998aa5c3923" providerId="ADAL" clId="{A5B0E68F-2D1E-4A93-9B76-0D1049A86230}" dt="2025-04-08T03:34:12.638" v="5000" actId="1038"/>
          <ac:spMkLst>
            <pc:docMk/>
            <pc:sldMk cId="3852124055" sldId="260"/>
            <ac:spMk id="508" creationId="{AEF7CF53-DB99-C63F-B840-1EB303AD3CBF}"/>
          </ac:spMkLst>
        </pc:spChg>
        <pc:spChg chg="mod">
          <ac:chgData name="Vikram Chandna" userId="d41689e5-46d3-462a-81dc-f998aa5c3923" providerId="ADAL" clId="{A5B0E68F-2D1E-4A93-9B76-0D1049A86230}" dt="2025-04-08T03:34:12.638" v="5000" actId="1038"/>
          <ac:spMkLst>
            <pc:docMk/>
            <pc:sldMk cId="3852124055" sldId="260"/>
            <ac:spMk id="509" creationId="{AE5177F1-D0C8-7003-E7F3-A2CA3E9255F2}"/>
          </ac:spMkLst>
        </pc:spChg>
        <pc:spChg chg="mod">
          <ac:chgData name="Vikram Chandna" userId="d41689e5-46d3-462a-81dc-f998aa5c3923" providerId="ADAL" clId="{A5B0E68F-2D1E-4A93-9B76-0D1049A86230}" dt="2025-04-08T02:40:55.922" v="4025" actId="208"/>
          <ac:spMkLst>
            <pc:docMk/>
            <pc:sldMk cId="3852124055" sldId="260"/>
            <ac:spMk id="510" creationId="{B010DFF6-A82D-18D5-3922-A120BA59CC35}"/>
          </ac:spMkLst>
        </pc:spChg>
        <pc:spChg chg="mod">
          <ac:chgData name="Vikram Chandna" userId="d41689e5-46d3-462a-81dc-f998aa5c3923" providerId="ADAL" clId="{A5B0E68F-2D1E-4A93-9B76-0D1049A86230}" dt="2025-04-08T02:40:55.922" v="4025" actId="208"/>
          <ac:spMkLst>
            <pc:docMk/>
            <pc:sldMk cId="3852124055" sldId="260"/>
            <ac:spMk id="511" creationId="{1D36A830-ED83-C888-CB76-AA304B52D7FC}"/>
          </ac:spMkLst>
        </pc:spChg>
        <pc:spChg chg="mod">
          <ac:chgData name="Vikram Chandna" userId="d41689e5-46d3-462a-81dc-f998aa5c3923" providerId="ADAL" clId="{A5B0E68F-2D1E-4A93-9B76-0D1049A86230}" dt="2025-04-08T02:40:55.922" v="4025" actId="208"/>
          <ac:spMkLst>
            <pc:docMk/>
            <pc:sldMk cId="3852124055" sldId="260"/>
            <ac:spMk id="512" creationId="{89DA002B-6359-BF7D-B504-C74C9A3E0183}"/>
          </ac:spMkLst>
        </pc:spChg>
        <pc:spChg chg="mod">
          <ac:chgData name="Vikram Chandna" userId="d41689e5-46d3-462a-81dc-f998aa5c3923" providerId="ADAL" clId="{A5B0E68F-2D1E-4A93-9B76-0D1049A86230}" dt="2025-04-07T15:57:13.574" v="3876" actId="208"/>
          <ac:spMkLst>
            <pc:docMk/>
            <pc:sldMk cId="3852124055" sldId="260"/>
            <ac:spMk id="513" creationId="{D72C58D1-517B-4DE9-FDEC-BA148D5BDB2D}"/>
          </ac:spMkLst>
        </pc:spChg>
        <pc:spChg chg="mod">
          <ac:chgData name="Vikram Chandna" userId="d41689e5-46d3-462a-81dc-f998aa5c3923" providerId="ADAL" clId="{A5B0E68F-2D1E-4A93-9B76-0D1049A86230}" dt="2025-04-07T09:24:57.298" v="1514" actId="208"/>
          <ac:spMkLst>
            <pc:docMk/>
            <pc:sldMk cId="3852124055" sldId="260"/>
            <ac:spMk id="514" creationId="{4070B0DC-AA66-0D80-92D7-42E76CE995B7}"/>
          </ac:spMkLst>
        </pc:spChg>
        <pc:spChg chg="mod">
          <ac:chgData name="Vikram Chandna" userId="d41689e5-46d3-462a-81dc-f998aa5c3923" providerId="ADAL" clId="{A5B0E68F-2D1E-4A93-9B76-0D1049A86230}" dt="2025-04-07T09:24:57.298" v="1514" actId="208"/>
          <ac:spMkLst>
            <pc:docMk/>
            <pc:sldMk cId="3852124055" sldId="260"/>
            <ac:spMk id="515" creationId="{41419FE8-6995-4D85-146F-0F6E11CF857E}"/>
          </ac:spMkLst>
        </pc:spChg>
        <pc:spChg chg="mod">
          <ac:chgData name="Vikram Chandna" userId="d41689e5-46d3-462a-81dc-f998aa5c3923" providerId="ADAL" clId="{A5B0E68F-2D1E-4A93-9B76-0D1049A86230}" dt="2025-04-08T02:40:55.922" v="4025" actId="208"/>
          <ac:spMkLst>
            <pc:docMk/>
            <pc:sldMk cId="3852124055" sldId="260"/>
            <ac:spMk id="516" creationId="{E0A1862F-4DAD-56B4-2228-2F8EA4EF7674}"/>
          </ac:spMkLst>
        </pc:spChg>
        <pc:spChg chg="add mod ord">
          <ac:chgData name="Vikram Chandna" userId="d41689e5-46d3-462a-81dc-f998aa5c3923" providerId="ADAL" clId="{A5B0E68F-2D1E-4A93-9B76-0D1049A86230}" dt="2025-04-08T04:42:55.440" v="5510" actId="1038"/>
          <ac:spMkLst>
            <pc:docMk/>
            <pc:sldMk cId="3852124055" sldId="260"/>
            <ac:spMk id="517" creationId="{DED730B1-36DF-DD6A-0FBC-6F4FBEEF622C}"/>
          </ac:spMkLst>
        </pc:spChg>
        <pc:grpChg chg="mod ord">
          <ac:chgData name="Vikram Chandna" userId="d41689e5-46d3-462a-81dc-f998aa5c3923" providerId="ADAL" clId="{A5B0E68F-2D1E-4A93-9B76-0D1049A86230}" dt="2025-04-08T04:42:56.812" v="5511" actId="1037"/>
          <ac:grpSpMkLst>
            <pc:docMk/>
            <pc:sldMk cId="3852124055" sldId="260"/>
            <ac:grpSpMk id="350" creationId="{047E1CD7-0150-7383-AA6F-58B40D361064}"/>
          </ac:grpSpMkLst>
        </pc:grpChg>
        <pc:grpChg chg="mod ord">
          <ac:chgData name="Vikram Chandna" userId="d41689e5-46d3-462a-81dc-f998aa5c3923" providerId="ADAL" clId="{A5B0E68F-2D1E-4A93-9B76-0D1049A86230}" dt="2025-04-08T04:42:56.812" v="5511" actId="1037"/>
          <ac:grpSpMkLst>
            <pc:docMk/>
            <pc:sldMk cId="3852124055" sldId="260"/>
            <ac:grpSpMk id="425" creationId="{12527594-C682-8644-9D9E-A17906901FA8}"/>
          </ac:grpSpMkLst>
        </pc:grpChg>
        <pc:grpChg chg="mod ord">
          <ac:chgData name="Vikram Chandna" userId="d41689e5-46d3-462a-81dc-f998aa5c3923" providerId="ADAL" clId="{A5B0E68F-2D1E-4A93-9B76-0D1049A86230}" dt="2025-04-08T04:42:55.440" v="5510" actId="1038"/>
          <ac:grpSpMkLst>
            <pc:docMk/>
            <pc:sldMk cId="3852124055" sldId="260"/>
            <ac:grpSpMk id="452" creationId="{7D93D7FD-E212-C0CA-2ABC-6AFEA6044EEA}"/>
          </ac:grpSpMkLst>
        </pc:grpChg>
        <pc:grpChg chg="mod ord">
          <ac:chgData name="Vikram Chandna" userId="d41689e5-46d3-462a-81dc-f998aa5c3923" providerId="ADAL" clId="{A5B0E68F-2D1E-4A93-9B76-0D1049A86230}" dt="2025-04-08T04:42:55.440" v="5510" actId="1038"/>
          <ac:grpSpMkLst>
            <pc:docMk/>
            <pc:sldMk cId="3852124055" sldId="260"/>
            <ac:grpSpMk id="493" creationId="{0BA21CDC-874A-562C-721D-1DC81D2D3785}"/>
          </ac:grpSpMkLst>
        </pc:grpChg>
        <pc:picChg chg="add mod">
          <ac:chgData name="Vikram Chandna" userId="d41689e5-46d3-462a-81dc-f998aa5c3923" providerId="ADAL" clId="{A5B0E68F-2D1E-4A93-9B76-0D1049A86230}" dt="2025-04-08T05:09:48.341" v="5914" actId="1035"/>
          <ac:picMkLst>
            <pc:docMk/>
            <pc:sldMk cId="3852124055" sldId="260"/>
            <ac:picMk id="5" creationId="{5CA2D940-9412-C3B6-0995-0FFECF129833}"/>
          </ac:picMkLst>
        </pc:picChg>
        <pc:picChg chg="add mod">
          <ac:chgData name="Vikram Chandna" userId="d41689e5-46d3-462a-81dc-f998aa5c3923" providerId="ADAL" clId="{A5B0E68F-2D1E-4A93-9B76-0D1049A86230}" dt="2025-04-08T05:09:38.766" v="5913" actId="1038"/>
          <ac:picMkLst>
            <pc:docMk/>
            <pc:sldMk cId="3852124055" sldId="260"/>
            <ac:picMk id="1026" creationId="{AE71F19A-F37B-F29F-4C0A-30A4083DF1D0}"/>
          </ac:picMkLst>
        </pc:picChg>
        <pc:picChg chg="add mod">
          <ac:chgData name="Vikram Chandna" userId="d41689e5-46d3-462a-81dc-f998aa5c3923" providerId="ADAL" clId="{A5B0E68F-2D1E-4A93-9B76-0D1049A86230}" dt="2025-04-08T05:09:38.766" v="5913" actId="1038"/>
          <ac:picMkLst>
            <pc:docMk/>
            <pc:sldMk cId="3852124055" sldId="260"/>
            <ac:picMk id="1028" creationId="{69302063-A7AE-DA1E-1C1B-B8890339DF95}"/>
          </ac:picMkLst>
        </pc:picChg>
        <pc:picChg chg="add mod">
          <ac:chgData name="Vikram Chandna" userId="d41689e5-46d3-462a-81dc-f998aa5c3923" providerId="ADAL" clId="{A5B0E68F-2D1E-4A93-9B76-0D1049A86230}" dt="2025-04-08T04:53:25.240" v="5519" actId="1036"/>
          <ac:picMkLst>
            <pc:docMk/>
            <pc:sldMk cId="3852124055" sldId="260"/>
            <ac:picMk id="1030" creationId="{DE027975-F635-0293-7797-4D0231569AD4}"/>
          </ac:picMkLst>
        </pc:picChg>
        <pc:picChg chg="add mod">
          <ac:chgData name="Vikram Chandna" userId="d41689e5-46d3-462a-81dc-f998aa5c3923" providerId="ADAL" clId="{A5B0E68F-2D1E-4A93-9B76-0D1049A86230}" dt="2025-04-08T05:09:38.766" v="5913" actId="1038"/>
          <ac:picMkLst>
            <pc:docMk/>
            <pc:sldMk cId="3852124055" sldId="260"/>
            <ac:picMk id="1032" creationId="{46802943-FCDF-2951-92C2-A3D2569142FE}"/>
          </ac:picMkLst>
        </pc:picChg>
        <pc:picChg chg="add mod">
          <ac:chgData name="Vikram Chandna" userId="d41689e5-46d3-462a-81dc-f998aa5c3923" providerId="ADAL" clId="{A5B0E68F-2D1E-4A93-9B76-0D1049A86230}" dt="2025-04-08T04:53:25.240" v="5519" actId="1036"/>
          <ac:picMkLst>
            <pc:docMk/>
            <pc:sldMk cId="3852124055" sldId="260"/>
            <ac:picMk id="1034" creationId="{30C26DA0-4AE6-7E5C-D538-1C4526560992}"/>
          </ac:picMkLst>
        </pc:picChg>
        <pc:cxnChg chg="add mod">
          <ac:chgData name="Vikram Chandna" userId="d41689e5-46d3-462a-81dc-f998aa5c3923" providerId="ADAL" clId="{A5B0E68F-2D1E-4A93-9B76-0D1049A86230}" dt="2025-04-08T04:42:56.812" v="5511" actId="1037"/>
          <ac:cxnSpMkLst>
            <pc:docMk/>
            <pc:sldMk cId="3852124055" sldId="260"/>
            <ac:cxnSpMk id="31" creationId="{640EFC9B-F9A5-2AC8-8E63-2086BAAD0F59}"/>
          </ac:cxnSpMkLst>
        </pc:cxnChg>
        <pc:cxnChg chg="add mod">
          <ac:chgData name="Vikram Chandna" userId="d41689e5-46d3-462a-81dc-f998aa5c3923" providerId="ADAL" clId="{A5B0E68F-2D1E-4A93-9B76-0D1049A86230}" dt="2025-04-08T04:42:56.812" v="5511" actId="1037"/>
          <ac:cxnSpMkLst>
            <pc:docMk/>
            <pc:sldMk cId="3852124055" sldId="260"/>
            <ac:cxnSpMk id="33" creationId="{F7354A33-4427-745F-C740-E4E31D82ED79}"/>
          </ac:cxnSpMkLst>
        </pc:cxnChg>
        <pc:cxnChg chg="add mod">
          <ac:chgData name="Vikram Chandna" userId="d41689e5-46d3-462a-81dc-f998aa5c3923" providerId="ADAL" clId="{A5B0E68F-2D1E-4A93-9B76-0D1049A86230}" dt="2025-04-08T04:42:55.440" v="5510" actId="1038"/>
          <ac:cxnSpMkLst>
            <pc:docMk/>
            <pc:sldMk cId="3852124055" sldId="260"/>
            <ac:cxnSpMk id="34" creationId="{225735E5-83F5-47D8-C96F-DD294D4BBE09}"/>
          </ac:cxnSpMkLst>
        </pc:cxnChg>
        <pc:cxnChg chg="add mod">
          <ac:chgData name="Vikram Chandna" userId="d41689e5-46d3-462a-81dc-f998aa5c3923" providerId="ADAL" clId="{A5B0E68F-2D1E-4A93-9B76-0D1049A86230}" dt="2025-04-08T04:42:55.440" v="5510" actId="1038"/>
          <ac:cxnSpMkLst>
            <pc:docMk/>
            <pc:sldMk cId="3852124055" sldId="260"/>
            <ac:cxnSpMk id="35" creationId="{B5E3F123-2B06-E476-0B58-713553844F02}"/>
          </ac:cxnSpMkLst>
        </pc:cxnChg>
      </pc:sldChg>
      <pc:sldChg chg="addSp delSp modSp mod">
        <pc:chgData name="Vikram Chandna" userId="d41689e5-46d3-462a-81dc-f998aa5c3923" providerId="ADAL" clId="{A5B0E68F-2D1E-4A93-9B76-0D1049A86230}" dt="2025-04-07T06:37:45.047" v="22" actId="1076"/>
        <pc:sldMkLst>
          <pc:docMk/>
          <pc:sldMk cId="2091183699" sldId="262"/>
        </pc:sldMkLst>
      </pc:sldChg>
      <pc:sldChg chg="del">
        <pc:chgData name="Vikram Chandna" userId="d41689e5-46d3-462a-81dc-f998aa5c3923" providerId="ADAL" clId="{A5B0E68F-2D1E-4A93-9B76-0D1049A86230}" dt="2025-04-08T04:40:25.261" v="5486" actId="2696"/>
        <pc:sldMkLst>
          <pc:docMk/>
          <pc:sldMk cId="617669049" sldId="265"/>
        </pc:sldMkLst>
      </pc:sldChg>
      <pc:sldChg chg="add del">
        <pc:chgData name="Vikram Chandna" userId="d41689e5-46d3-462a-81dc-f998aa5c3923" providerId="ADAL" clId="{A5B0E68F-2D1E-4A93-9B76-0D1049A86230}" dt="2025-04-08T04:40:32.043" v="5488" actId="47"/>
        <pc:sldMkLst>
          <pc:docMk/>
          <pc:sldMk cId="1889352163" sldId="265"/>
        </pc:sldMkLst>
      </pc:sldChg>
      <pc:sldChg chg="add del">
        <pc:chgData name="Vikram Chandna" userId="d41689e5-46d3-462a-81dc-f998aa5c3923" providerId="ADAL" clId="{A5B0E68F-2D1E-4A93-9B76-0D1049A86230}" dt="2025-04-07T15:21:33.036" v="3045"/>
        <pc:sldMkLst>
          <pc:docMk/>
          <pc:sldMk cId="1450169845" sldId="266"/>
        </pc:sldMkLst>
      </pc:sldChg>
      <pc:sldChg chg="add del">
        <pc:chgData name="Vikram Chandna" userId="d41689e5-46d3-462a-81dc-f998aa5c3923" providerId="ADAL" clId="{A5B0E68F-2D1E-4A93-9B76-0D1049A86230}" dt="2025-04-08T03:39:51.486" v="5057" actId="47"/>
        <pc:sldMkLst>
          <pc:docMk/>
          <pc:sldMk cId="1303444637" sldId="2147483646"/>
        </pc:sldMkLst>
      </pc:sldChg>
    </pc:docChg>
  </pc:docChgLst>
  <pc:docChgLst>
    <pc:chgData name="Kalimahmed Shaikh" userId="9dc99882-667c-4e4b-9fd8-b3d3288d4e4f" providerId="ADAL" clId="{7FD991FB-3780-4BC2-B926-109C03AAF629}"/>
    <pc:docChg chg="undo custSel addSld delSld modSld sldOrd">
      <pc:chgData name="Kalimahmed Shaikh" userId="9dc99882-667c-4e4b-9fd8-b3d3288d4e4f" providerId="ADAL" clId="{7FD991FB-3780-4BC2-B926-109C03AAF629}" dt="2024-10-22T06:20:40.122" v="328" actId="403"/>
      <pc:docMkLst>
        <pc:docMk/>
      </pc:docMkLst>
      <pc:sldChg chg="modNotesTx">
        <pc:chgData name="Kalimahmed Shaikh" userId="9dc99882-667c-4e4b-9fd8-b3d3288d4e4f" providerId="ADAL" clId="{7FD991FB-3780-4BC2-B926-109C03AAF629}" dt="2024-10-22T04:27:56.303" v="23" actId="6549"/>
        <pc:sldMkLst>
          <pc:docMk/>
          <pc:sldMk cId="2600766834" sldId="258"/>
        </pc:sldMkLst>
      </pc:sldChg>
      <pc:sldChg chg="ord modNotesTx">
        <pc:chgData name="Kalimahmed Shaikh" userId="9dc99882-667c-4e4b-9fd8-b3d3288d4e4f" providerId="ADAL" clId="{7FD991FB-3780-4BC2-B926-109C03AAF629}" dt="2024-10-22T05:59:27.018" v="312"/>
        <pc:sldMkLst>
          <pc:docMk/>
          <pc:sldMk cId="313511399" sldId="259"/>
        </pc:sldMkLst>
      </pc:sldChg>
      <pc:sldChg chg="modNotesTx">
        <pc:chgData name="Kalimahmed Shaikh" userId="9dc99882-667c-4e4b-9fd8-b3d3288d4e4f" providerId="ADAL" clId="{7FD991FB-3780-4BC2-B926-109C03AAF629}" dt="2024-10-22T04:28:12.240" v="26" actId="6549"/>
        <pc:sldMkLst>
          <pc:docMk/>
          <pc:sldMk cId="2022173905" sldId="261"/>
        </pc:sldMkLst>
      </pc:sldChg>
      <pc:sldChg chg="modNotesTx">
        <pc:chgData name="Kalimahmed Shaikh" userId="9dc99882-667c-4e4b-9fd8-b3d3288d4e4f" providerId="ADAL" clId="{7FD991FB-3780-4BC2-B926-109C03AAF629}" dt="2024-10-22T04:28:15.440" v="27" actId="6549"/>
        <pc:sldMkLst>
          <pc:docMk/>
          <pc:sldMk cId="160166271" sldId="262"/>
        </pc:sldMkLst>
      </pc:sldChg>
      <pc:sldChg chg="addSp delSp modSp add mod">
        <pc:chgData name="Kalimahmed Shaikh" userId="9dc99882-667c-4e4b-9fd8-b3d3288d4e4f" providerId="ADAL" clId="{7FD991FB-3780-4BC2-B926-109C03AAF629}" dt="2024-10-22T04:59:24.674" v="249" actId="208"/>
        <pc:sldMkLst>
          <pc:docMk/>
          <pc:sldMk cId="2830762217" sldId="265"/>
        </pc:sldMkLst>
      </pc:sldChg>
      <pc:sldChg chg="addSp delSp modSp add mod">
        <pc:chgData name="Kalimahmed Shaikh" userId="9dc99882-667c-4e4b-9fd8-b3d3288d4e4f" providerId="ADAL" clId="{7FD991FB-3780-4BC2-B926-109C03AAF629}" dt="2024-10-22T05:59:11.712" v="310" actId="207"/>
        <pc:sldMkLst>
          <pc:docMk/>
          <pc:sldMk cId="516959604" sldId="266"/>
        </pc:sldMkLst>
      </pc:sldChg>
      <pc:sldChg chg="modNotesTx">
        <pc:chgData name="Kalimahmed Shaikh" userId="9dc99882-667c-4e4b-9fd8-b3d3288d4e4f" providerId="ADAL" clId="{7FD991FB-3780-4BC2-B926-109C03AAF629}" dt="2024-10-22T04:28:07.138" v="25" actId="6549"/>
        <pc:sldMkLst>
          <pc:docMk/>
          <pc:sldMk cId="1345036050" sldId="2147480482"/>
        </pc:sldMkLst>
      </pc:sldChg>
      <pc:sldChg chg="modSp mod">
        <pc:chgData name="Kalimahmed Shaikh" userId="9dc99882-667c-4e4b-9fd8-b3d3288d4e4f" providerId="ADAL" clId="{7FD991FB-3780-4BC2-B926-109C03AAF629}" dt="2024-10-21T15:31:16.130" v="16" actId="5793"/>
        <pc:sldMkLst>
          <pc:docMk/>
          <pc:sldMk cId="604575953" sldId="2147480552"/>
        </pc:sldMkLst>
      </pc:sldChg>
      <pc:sldChg chg="add del">
        <pc:chgData name="Kalimahmed Shaikh" userId="9dc99882-667c-4e4b-9fd8-b3d3288d4e4f" providerId="ADAL" clId="{7FD991FB-3780-4BC2-B926-109C03AAF629}" dt="2024-10-22T04:59:48.105" v="250" actId="47"/>
        <pc:sldMkLst>
          <pc:docMk/>
          <pc:sldMk cId="3962545008" sldId="2147481290"/>
        </pc:sldMkLst>
      </pc:sldChg>
      <pc:sldChg chg="del modNotesTx">
        <pc:chgData name="Kalimahmed Shaikh" userId="9dc99882-667c-4e4b-9fd8-b3d3288d4e4f" providerId="ADAL" clId="{7FD991FB-3780-4BC2-B926-109C03AAF629}" dt="2024-10-22T05:07:07.735" v="251" actId="47"/>
        <pc:sldMkLst>
          <pc:docMk/>
          <pc:sldMk cId="3710184815" sldId="2147483617"/>
        </pc:sldMkLst>
      </pc:sldChg>
      <pc:sldChg chg="modSp mod modNotesTx">
        <pc:chgData name="Kalimahmed Shaikh" userId="9dc99882-667c-4e4b-9fd8-b3d3288d4e4f" providerId="ADAL" clId="{7FD991FB-3780-4BC2-B926-109C03AAF629}" dt="2024-10-22T06:20:40.122" v="328" actId="403"/>
        <pc:sldMkLst>
          <pc:docMk/>
          <pc:sldMk cId="1680126466" sldId="2147483619"/>
        </pc:sldMkLst>
      </pc:sldChg>
      <pc:sldChg chg="modNotesTx">
        <pc:chgData name="Kalimahmed Shaikh" userId="9dc99882-667c-4e4b-9fd8-b3d3288d4e4f" providerId="ADAL" clId="{7FD991FB-3780-4BC2-B926-109C03AAF629}" dt="2024-10-22T04:27:47.355" v="21" actId="6549"/>
        <pc:sldMkLst>
          <pc:docMk/>
          <pc:sldMk cId="640591011" sldId="2147483620"/>
        </pc:sldMkLst>
      </pc:sldChg>
      <pc:sldChg chg="modSp mod modNotesTx">
        <pc:chgData name="Kalimahmed Shaikh" userId="9dc99882-667c-4e4b-9fd8-b3d3288d4e4f" providerId="ADAL" clId="{7FD991FB-3780-4BC2-B926-109C03AAF629}" dt="2024-10-22T05:15:11.691" v="293" actId="20577"/>
        <pc:sldMkLst>
          <pc:docMk/>
          <pc:sldMk cId="350365825" sldId="2147483621"/>
        </pc:sldMkLst>
      </pc:sldChg>
      <pc:sldChg chg="modSp mod modNotesTx">
        <pc:chgData name="Kalimahmed Shaikh" userId="9dc99882-667c-4e4b-9fd8-b3d3288d4e4f" providerId="ADAL" clId="{7FD991FB-3780-4BC2-B926-109C03AAF629}" dt="2024-10-22T06:00:50.567" v="316"/>
        <pc:sldMkLst>
          <pc:docMk/>
          <pc:sldMk cId="4159413104" sldId="2147483643"/>
        </pc:sldMkLst>
      </pc:sldChg>
      <pc:sldChg chg="modNotesTx">
        <pc:chgData name="Kalimahmed Shaikh" userId="9dc99882-667c-4e4b-9fd8-b3d3288d4e4f" providerId="ADAL" clId="{7FD991FB-3780-4BC2-B926-109C03AAF629}" dt="2024-10-22T04:27:37.382" v="18" actId="6549"/>
        <pc:sldMkLst>
          <pc:docMk/>
          <pc:sldMk cId="1769685235" sldId="2147483644"/>
        </pc:sldMkLst>
      </pc:sldChg>
    </pc:docChg>
  </pc:docChgLst>
  <pc:docChgLst>
    <pc:chgData name="Vikram Chandna" userId="d41689e5-46d3-462a-81dc-f998aa5c3923" providerId="ADAL" clId="{04CA8BB8-45FD-4FAA-A8DE-0B75E80B9AC6}"/>
    <pc:docChg chg="undo custSel addSld delSld modSld">
      <pc:chgData name="Vikram Chandna" userId="d41689e5-46d3-462a-81dc-f998aa5c3923" providerId="ADAL" clId="{04CA8BB8-45FD-4FAA-A8DE-0B75E80B9AC6}" dt="2025-05-06T02:39:31.244" v="3429" actId="6549"/>
      <pc:docMkLst>
        <pc:docMk/>
      </pc:docMkLst>
      <pc:sldChg chg="del">
        <pc:chgData name="Vikram Chandna" userId="d41689e5-46d3-462a-81dc-f998aa5c3923" providerId="ADAL" clId="{04CA8BB8-45FD-4FAA-A8DE-0B75E80B9AC6}" dt="2025-04-08T06:04:42.331" v="8" actId="47"/>
        <pc:sldMkLst>
          <pc:docMk/>
          <pc:sldMk cId="3673749504" sldId="257"/>
        </pc:sldMkLst>
      </pc:sldChg>
      <pc:sldChg chg="del">
        <pc:chgData name="Vikram Chandna" userId="d41689e5-46d3-462a-81dc-f998aa5c3923" providerId="ADAL" clId="{04CA8BB8-45FD-4FAA-A8DE-0B75E80B9AC6}" dt="2025-04-08T06:04:43.206" v="9" actId="47"/>
        <pc:sldMkLst>
          <pc:docMk/>
          <pc:sldMk cId="2009377035" sldId="258"/>
        </pc:sldMkLst>
      </pc:sldChg>
      <pc:sldChg chg="del">
        <pc:chgData name="Vikram Chandna" userId="d41689e5-46d3-462a-81dc-f998aa5c3923" providerId="ADAL" clId="{04CA8BB8-45FD-4FAA-A8DE-0B75E80B9AC6}" dt="2025-04-08T06:04:37.848" v="5" actId="47"/>
        <pc:sldMkLst>
          <pc:docMk/>
          <pc:sldMk cId="4279016040" sldId="259"/>
        </pc:sldMkLst>
      </pc:sldChg>
      <pc:sldChg chg="addSp delSp modSp mod">
        <pc:chgData name="Vikram Chandna" userId="d41689e5-46d3-462a-81dc-f998aa5c3923" providerId="ADAL" clId="{04CA8BB8-45FD-4FAA-A8DE-0B75E80B9AC6}" dt="2025-04-29T10:56:08.212" v="1496" actId="1076"/>
        <pc:sldMkLst>
          <pc:docMk/>
          <pc:sldMk cId="3852124055" sldId="260"/>
        </pc:sldMkLst>
        <pc:spChg chg="mod">
          <ac:chgData name="Vikram Chandna" userId="d41689e5-46d3-462a-81dc-f998aa5c3923" providerId="ADAL" clId="{04CA8BB8-45FD-4FAA-A8DE-0B75E80B9AC6}" dt="2025-04-15T05:34:15.364" v="603" actId="1037"/>
          <ac:spMkLst>
            <pc:docMk/>
            <pc:sldMk cId="3852124055" sldId="260"/>
            <ac:spMk id="2" creationId="{A888B663-2FC1-0B00-444D-6A0BCC29F12D}"/>
          </ac:spMkLst>
        </pc:spChg>
        <pc:spChg chg="mod">
          <ac:chgData name="Vikram Chandna" userId="d41689e5-46d3-462a-81dc-f998aa5c3923" providerId="ADAL" clId="{04CA8BB8-45FD-4FAA-A8DE-0B75E80B9AC6}" dt="2025-04-29T10:56:08.212" v="1496" actId="1076"/>
          <ac:spMkLst>
            <pc:docMk/>
            <pc:sldMk cId="3852124055" sldId="260"/>
            <ac:spMk id="3" creationId="{2FDBF424-9B27-1D0C-8928-B9BD1BD0D09E}"/>
          </ac:spMkLst>
        </pc:spChg>
        <pc:spChg chg="mod">
          <ac:chgData name="Vikram Chandna" userId="d41689e5-46d3-462a-81dc-f998aa5c3923" providerId="ADAL" clId="{04CA8BB8-45FD-4FAA-A8DE-0B75E80B9AC6}" dt="2025-04-15T05:34:15.364" v="603" actId="1037"/>
          <ac:spMkLst>
            <pc:docMk/>
            <pc:sldMk cId="3852124055" sldId="260"/>
            <ac:spMk id="4" creationId="{E534F94A-6628-61DC-EBF0-47C6BDC6068C}"/>
          </ac:spMkLst>
        </pc:spChg>
        <pc:spChg chg="add mod">
          <ac:chgData name="Vikram Chandna" userId="d41689e5-46d3-462a-81dc-f998aa5c3923" providerId="ADAL" clId="{04CA8BB8-45FD-4FAA-A8DE-0B75E80B9AC6}" dt="2025-04-15T05:34:15.364" v="603" actId="1037"/>
          <ac:spMkLst>
            <pc:docMk/>
            <pc:sldMk cId="3852124055" sldId="260"/>
            <ac:spMk id="10" creationId="{2C94F9B1-AD94-776A-E28E-4233A528F84A}"/>
          </ac:spMkLst>
        </pc:spChg>
        <pc:spChg chg="add mod">
          <ac:chgData name="Vikram Chandna" userId="d41689e5-46d3-462a-81dc-f998aa5c3923" providerId="ADAL" clId="{04CA8BB8-45FD-4FAA-A8DE-0B75E80B9AC6}" dt="2025-04-15T05:34:15.364" v="603" actId="1037"/>
          <ac:spMkLst>
            <pc:docMk/>
            <pc:sldMk cId="3852124055" sldId="260"/>
            <ac:spMk id="11" creationId="{7C64DE31-F295-A7C6-B8E4-B6918EB1BF8F}"/>
          </ac:spMkLst>
        </pc:spChg>
        <pc:spChg chg="mod">
          <ac:chgData name="Vikram Chandna" userId="d41689e5-46d3-462a-81dc-f998aa5c3923" providerId="ADAL" clId="{04CA8BB8-45FD-4FAA-A8DE-0B75E80B9AC6}" dt="2025-04-15T05:33:33.897" v="592" actId="1036"/>
          <ac:spMkLst>
            <pc:docMk/>
            <pc:sldMk cId="3852124055" sldId="260"/>
            <ac:spMk id="38" creationId="{898E50C0-96BA-7BCA-FAF6-D2A21137450D}"/>
          </ac:spMkLst>
        </pc:spChg>
        <pc:spChg chg="mod">
          <ac:chgData name="Vikram Chandna" userId="d41689e5-46d3-462a-81dc-f998aa5c3923" providerId="ADAL" clId="{04CA8BB8-45FD-4FAA-A8DE-0B75E80B9AC6}" dt="2025-04-15T05:35:34.384" v="628" actId="403"/>
          <ac:spMkLst>
            <pc:docMk/>
            <pc:sldMk cId="3852124055" sldId="260"/>
            <ac:spMk id="40" creationId="{C9E4C377-BC6D-60AA-AD0B-F41797810118}"/>
          </ac:spMkLst>
        </pc:spChg>
        <pc:spChg chg="mod">
          <ac:chgData name="Vikram Chandna" userId="d41689e5-46d3-462a-81dc-f998aa5c3923" providerId="ADAL" clId="{04CA8BB8-45FD-4FAA-A8DE-0B75E80B9AC6}" dt="2025-04-15T05:30:54.302" v="477" actId="14100"/>
          <ac:spMkLst>
            <pc:docMk/>
            <pc:sldMk cId="3852124055" sldId="260"/>
            <ac:spMk id="42" creationId="{DF00DCE7-F1FD-0CAF-68ED-F78ACC60FB12}"/>
          </ac:spMkLst>
        </pc:spChg>
        <pc:spChg chg="mod">
          <ac:chgData name="Vikram Chandna" userId="d41689e5-46d3-462a-81dc-f998aa5c3923" providerId="ADAL" clId="{04CA8BB8-45FD-4FAA-A8DE-0B75E80B9AC6}" dt="2025-04-08T08:05:34.472" v="136" actId="1036"/>
          <ac:spMkLst>
            <pc:docMk/>
            <pc:sldMk cId="3852124055" sldId="260"/>
            <ac:spMk id="45" creationId="{0723F830-974B-08C0-28B5-7EA9F7544DC3}"/>
          </ac:spMkLst>
        </pc:spChg>
        <pc:spChg chg="mod">
          <ac:chgData name="Vikram Chandna" userId="d41689e5-46d3-462a-81dc-f998aa5c3923" providerId="ADAL" clId="{04CA8BB8-45FD-4FAA-A8DE-0B75E80B9AC6}" dt="2025-04-08T08:05:34.472" v="136" actId="1036"/>
          <ac:spMkLst>
            <pc:docMk/>
            <pc:sldMk cId="3852124055" sldId="260"/>
            <ac:spMk id="46" creationId="{EC130A9B-328C-415A-5CD1-0A04EE5C0AEE}"/>
          </ac:spMkLst>
        </pc:spChg>
        <pc:spChg chg="mod">
          <ac:chgData name="Vikram Chandna" userId="d41689e5-46d3-462a-81dc-f998aa5c3923" providerId="ADAL" clId="{04CA8BB8-45FD-4FAA-A8DE-0B75E80B9AC6}" dt="2025-04-15T05:34:15.364" v="603" actId="1037"/>
          <ac:spMkLst>
            <pc:docMk/>
            <pc:sldMk cId="3852124055" sldId="260"/>
            <ac:spMk id="47" creationId="{F03CE195-F563-5089-8750-849212BB029F}"/>
          </ac:spMkLst>
        </pc:spChg>
        <pc:spChg chg="mod">
          <ac:chgData name="Vikram Chandna" userId="d41689e5-46d3-462a-81dc-f998aa5c3923" providerId="ADAL" clId="{04CA8BB8-45FD-4FAA-A8DE-0B75E80B9AC6}" dt="2025-04-15T05:34:15.364" v="603" actId="1037"/>
          <ac:spMkLst>
            <pc:docMk/>
            <pc:sldMk cId="3852124055" sldId="260"/>
            <ac:spMk id="48" creationId="{BCF90B6D-F278-ED1A-1860-33AED9C55278}"/>
          </ac:spMkLst>
        </pc:spChg>
        <pc:spChg chg="mod">
          <ac:chgData name="Vikram Chandna" userId="d41689e5-46d3-462a-81dc-f998aa5c3923" providerId="ADAL" clId="{04CA8BB8-45FD-4FAA-A8DE-0B75E80B9AC6}" dt="2025-04-15T05:34:15.364" v="603" actId="1037"/>
          <ac:spMkLst>
            <pc:docMk/>
            <pc:sldMk cId="3852124055" sldId="260"/>
            <ac:spMk id="49" creationId="{AEEE1F7E-2D4F-0BAD-0DCA-AFD64766B407}"/>
          </ac:spMkLst>
        </pc:spChg>
        <pc:spChg chg="mod">
          <ac:chgData name="Vikram Chandna" userId="d41689e5-46d3-462a-81dc-f998aa5c3923" providerId="ADAL" clId="{04CA8BB8-45FD-4FAA-A8DE-0B75E80B9AC6}" dt="2025-04-29T10:32:55.403" v="848" actId="14100"/>
          <ac:spMkLst>
            <pc:docMk/>
            <pc:sldMk cId="3852124055" sldId="260"/>
            <ac:spMk id="58" creationId="{4C6D07FE-D2D9-A625-ED8D-AB85CA59570C}"/>
          </ac:spMkLst>
        </pc:spChg>
        <pc:spChg chg="mod">
          <ac:chgData name="Vikram Chandna" userId="d41689e5-46d3-462a-81dc-f998aa5c3923" providerId="ADAL" clId="{04CA8BB8-45FD-4FAA-A8DE-0B75E80B9AC6}" dt="2025-04-17T09:50:55.372" v="732" actId="1076"/>
          <ac:spMkLst>
            <pc:docMk/>
            <pc:sldMk cId="3852124055" sldId="260"/>
            <ac:spMk id="59" creationId="{3C491381-1431-7512-C17A-62DCD5BECFF9}"/>
          </ac:spMkLst>
        </pc:spChg>
        <pc:spChg chg="mod">
          <ac:chgData name="Vikram Chandna" userId="d41689e5-46d3-462a-81dc-f998aa5c3923" providerId="ADAL" clId="{04CA8BB8-45FD-4FAA-A8DE-0B75E80B9AC6}" dt="2025-04-15T05:34:31.893" v="619" actId="1038"/>
          <ac:spMkLst>
            <pc:docMk/>
            <pc:sldMk cId="3852124055" sldId="260"/>
            <ac:spMk id="66" creationId="{A2FD9F85-9813-448A-242A-70FBE166EE9C}"/>
          </ac:spMkLst>
        </pc:spChg>
        <pc:spChg chg="mod">
          <ac:chgData name="Vikram Chandna" userId="d41689e5-46d3-462a-81dc-f998aa5c3923" providerId="ADAL" clId="{04CA8BB8-45FD-4FAA-A8DE-0B75E80B9AC6}" dt="2025-04-08T08:05:08.200" v="116" actId="1035"/>
          <ac:spMkLst>
            <pc:docMk/>
            <pc:sldMk cId="3852124055" sldId="260"/>
            <ac:spMk id="73" creationId="{E3F39FF1-0C86-6286-82B2-FB893B595484}"/>
          </ac:spMkLst>
        </pc:spChg>
        <pc:spChg chg="mod">
          <ac:chgData name="Vikram Chandna" userId="d41689e5-46d3-462a-81dc-f998aa5c3923" providerId="ADAL" clId="{04CA8BB8-45FD-4FAA-A8DE-0B75E80B9AC6}" dt="2025-04-15T05:33:22.684" v="578" actId="1035"/>
          <ac:spMkLst>
            <pc:docMk/>
            <pc:sldMk cId="3852124055" sldId="260"/>
            <ac:spMk id="314" creationId="{FAE59012-8DB7-72D5-3566-F9973684E9EC}"/>
          </ac:spMkLst>
        </pc:spChg>
        <pc:spChg chg="mod">
          <ac:chgData name="Vikram Chandna" userId="d41689e5-46d3-462a-81dc-f998aa5c3923" providerId="ADAL" clId="{04CA8BB8-45FD-4FAA-A8DE-0B75E80B9AC6}" dt="2025-04-08T08:00:21.266" v="70" actId="1035"/>
          <ac:spMkLst>
            <pc:docMk/>
            <pc:sldMk cId="3852124055" sldId="260"/>
            <ac:spMk id="315" creationId="{D700D36E-5CDB-EC6C-34A5-C3D9B6B1B178}"/>
          </ac:spMkLst>
        </pc:spChg>
        <pc:spChg chg="mod">
          <ac:chgData name="Vikram Chandna" userId="d41689e5-46d3-462a-81dc-f998aa5c3923" providerId="ADAL" clId="{04CA8BB8-45FD-4FAA-A8DE-0B75E80B9AC6}" dt="2025-04-08T08:05:08.200" v="116" actId="1035"/>
          <ac:spMkLst>
            <pc:docMk/>
            <pc:sldMk cId="3852124055" sldId="260"/>
            <ac:spMk id="327" creationId="{294E9C0D-745B-2A74-A0DF-C29F5FA6D313}"/>
          </ac:spMkLst>
        </pc:spChg>
        <pc:spChg chg="mod">
          <ac:chgData name="Vikram Chandna" userId="d41689e5-46d3-462a-81dc-f998aa5c3923" providerId="ADAL" clId="{04CA8BB8-45FD-4FAA-A8DE-0B75E80B9AC6}" dt="2025-04-15T05:33:22.684" v="578" actId="1035"/>
          <ac:spMkLst>
            <pc:docMk/>
            <pc:sldMk cId="3852124055" sldId="260"/>
            <ac:spMk id="330" creationId="{9D26B198-14B9-8E8B-0D43-8446BC6E7F38}"/>
          </ac:spMkLst>
        </pc:spChg>
        <pc:spChg chg="mod">
          <ac:chgData name="Vikram Chandna" userId="d41689e5-46d3-462a-81dc-f998aa5c3923" providerId="ADAL" clId="{04CA8BB8-45FD-4FAA-A8DE-0B75E80B9AC6}" dt="2025-04-08T08:05:08.200" v="116" actId="1035"/>
          <ac:spMkLst>
            <pc:docMk/>
            <pc:sldMk cId="3852124055" sldId="260"/>
            <ac:spMk id="331" creationId="{AF3F3D37-62CA-B419-4010-0841DDADC424}"/>
          </ac:spMkLst>
        </pc:spChg>
        <pc:spChg chg="mod">
          <ac:chgData name="Vikram Chandna" userId="d41689e5-46d3-462a-81dc-f998aa5c3923" providerId="ADAL" clId="{04CA8BB8-45FD-4FAA-A8DE-0B75E80B9AC6}" dt="2025-04-08T08:05:08.200" v="116" actId="1035"/>
          <ac:spMkLst>
            <pc:docMk/>
            <pc:sldMk cId="3852124055" sldId="260"/>
            <ac:spMk id="333" creationId="{C815288E-D9A0-97D6-FF19-79EEF2EAEF0A}"/>
          </ac:spMkLst>
        </pc:spChg>
        <pc:spChg chg="mod">
          <ac:chgData name="Vikram Chandna" userId="d41689e5-46d3-462a-81dc-f998aa5c3923" providerId="ADAL" clId="{04CA8BB8-45FD-4FAA-A8DE-0B75E80B9AC6}" dt="2025-04-15T05:33:22.684" v="578" actId="1035"/>
          <ac:spMkLst>
            <pc:docMk/>
            <pc:sldMk cId="3852124055" sldId="260"/>
            <ac:spMk id="334" creationId="{1B439C27-1E31-FC75-F8A5-0A73E47738BC}"/>
          </ac:spMkLst>
        </pc:spChg>
        <pc:spChg chg="mod">
          <ac:chgData name="Vikram Chandna" userId="d41689e5-46d3-462a-81dc-f998aa5c3923" providerId="ADAL" clId="{04CA8BB8-45FD-4FAA-A8DE-0B75E80B9AC6}" dt="2025-04-15T05:33:22.684" v="578" actId="1035"/>
          <ac:spMkLst>
            <pc:docMk/>
            <pc:sldMk cId="3852124055" sldId="260"/>
            <ac:spMk id="335" creationId="{D0CFA946-E93D-697E-632B-B4B2D6AEBD90}"/>
          </ac:spMkLst>
        </pc:spChg>
        <pc:spChg chg="mod">
          <ac:chgData name="Vikram Chandna" userId="d41689e5-46d3-462a-81dc-f998aa5c3923" providerId="ADAL" clId="{04CA8BB8-45FD-4FAA-A8DE-0B75E80B9AC6}" dt="2025-04-15T05:36:43.318" v="676" actId="108"/>
          <ac:spMkLst>
            <pc:docMk/>
            <pc:sldMk cId="3852124055" sldId="260"/>
            <ac:spMk id="338" creationId="{92A88CE9-C113-8F94-6B28-E84E35558ED5}"/>
          </ac:spMkLst>
        </pc:spChg>
        <pc:spChg chg="mod">
          <ac:chgData name="Vikram Chandna" userId="d41689e5-46d3-462a-81dc-f998aa5c3923" providerId="ADAL" clId="{04CA8BB8-45FD-4FAA-A8DE-0B75E80B9AC6}" dt="2025-04-08T08:00:21.266" v="70" actId="1035"/>
          <ac:spMkLst>
            <pc:docMk/>
            <pc:sldMk cId="3852124055" sldId="260"/>
            <ac:spMk id="339" creationId="{E57C0946-6D0A-A270-401C-56DBF493CABC}"/>
          </ac:spMkLst>
        </pc:spChg>
        <pc:spChg chg="mod">
          <ac:chgData name="Vikram Chandna" userId="d41689e5-46d3-462a-81dc-f998aa5c3923" providerId="ADAL" clId="{04CA8BB8-45FD-4FAA-A8DE-0B75E80B9AC6}" dt="2025-04-15T05:33:22.684" v="578" actId="1035"/>
          <ac:spMkLst>
            <pc:docMk/>
            <pc:sldMk cId="3852124055" sldId="260"/>
            <ac:spMk id="340" creationId="{18991D2C-041E-9251-7A39-D65694C6F411}"/>
          </ac:spMkLst>
        </pc:spChg>
        <pc:spChg chg="mod">
          <ac:chgData name="Vikram Chandna" userId="d41689e5-46d3-462a-81dc-f998aa5c3923" providerId="ADAL" clId="{04CA8BB8-45FD-4FAA-A8DE-0B75E80B9AC6}" dt="2025-04-08T08:00:21.266" v="70" actId="1035"/>
          <ac:spMkLst>
            <pc:docMk/>
            <pc:sldMk cId="3852124055" sldId="260"/>
            <ac:spMk id="341" creationId="{44B96345-4DB6-5F32-F8EB-8A51512DAFFA}"/>
          </ac:spMkLst>
        </pc:spChg>
        <pc:spChg chg="mod">
          <ac:chgData name="Vikram Chandna" userId="d41689e5-46d3-462a-81dc-f998aa5c3923" providerId="ADAL" clId="{04CA8BB8-45FD-4FAA-A8DE-0B75E80B9AC6}" dt="2025-04-08T08:00:21.266" v="70" actId="1035"/>
          <ac:spMkLst>
            <pc:docMk/>
            <pc:sldMk cId="3852124055" sldId="260"/>
            <ac:spMk id="342" creationId="{204DDD8F-C983-2940-ECB1-F440803F1490}"/>
          </ac:spMkLst>
        </pc:spChg>
        <pc:spChg chg="mod">
          <ac:chgData name="Vikram Chandna" userId="d41689e5-46d3-462a-81dc-f998aa5c3923" providerId="ADAL" clId="{04CA8BB8-45FD-4FAA-A8DE-0B75E80B9AC6}" dt="2025-04-15T05:33:22.684" v="578" actId="1035"/>
          <ac:spMkLst>
            <pc:docMk/>
            <pc:sldMk cId="3852124055" sldId="260"/>
            <ac:spMk id="343" creationId="{6F6E234E-21C2-51D3-FD95-27E29936DF47}"/>
          </ac:spMkLst>
        </pc:spChg>
        <pc:spChg chg="mod">
          <ac:chgData name="Vikram Chandna" userId="d41689e5-46d3-462a-81dc-f998aa5c3923" providerId="ADAL" clId="{04CA8BB8-45FD-4FAA-A8DE-0B75E80B9AC6}" dt="2025-04-08T08:05:08.200" v="116" actId="1035"/>
          <ac:spMkLst>
            <pc:docMk/>
            <pc:sldMk cId="3852124055" sldId="260"/>
            <ac:spMk id="344" creationId="{B011FF90-305A-7A28-0140-53589603603C}"/>
          </ac:spMkLst>
        </pc:spChg>
        <pc:spChg chg="mod">
          <ac:chgData name="Vikram Chandna" userId="d41689e5-46d3-462a-81dc-f998aa5c3923" providerId="ADAL" clId="{04CA8BB8-45FD-4FAA-A8DE-0B75E80B9AC6}" dt="2025-04-15T05:34:31.893" v="619" actId="1038"/>
          <ac:spMkLst>
            <pc:docMk/>
            <pc:sldMk cId="3852124055" sldId="260"/>
            <ac:spMk id="352" creationId="{A9B9E92D-C244-0903-04C0-C6694343CEF0}"/>
          </ac:spMkLst>
        </pc:spChg>
        <pc:spChg chg="mod">
          <ac:chgData name="Vikram Chandna" userId="d41689e5-46d3-462a-81dc-f998aa5c3923" providerId="ADAL" clId="{04CA8BB8-45FD-4FAA-A8DE-0B75E80B9AC6}" dt="2025-04-15T05:28:34.036" v="426" actId="554"/>
          <ac:spMkLst>
            <pc:docMk/>
            <pc:sldMk cId="3852124055" sldId="260"/>
            <ac:spMk id="386" creationId="{BA5310F4-E4F5-17B4-8766-234D9469497C}"/>
          </ac:spMkLst>
        </pc:spChg>
        <pc:spChg chg="mod">
          <ac:chgData name="Vikram Chandna" userId="d41689e5-46d3-462a-81dc-f998aa5c3923" providerId="ADAL" clId="{04CA8BB8-45FD-4FAA-A8DE-0B75E80B9AC6}" dt="2025-04-15T05:33:22.684" v="578" actId="1035"/>
          <ac:spMkLst>
            <pc:docMk/>
            <pc:sldMk cId="3852124055" sldId="260"/>
            <ac:spMk id="387" creationId="{9060380B-360E-C12D-4E89-A8DA77B44417}"/>
          </ac:spMkLst>
        </pc:spChg>
        <pc:spChg chg="mod">
          <ac:chgData name="Vikram Chandna" userId="d41689e5-46d3-462a-81dc-f998aa5c3923" providerId="ADAL" clId="{04CA8BB8-45FD-4FAA-A8DE-0B75E80B9AC6}" dt="2025-04-15T05:28:34.036" v="426" actId="554"/>
          <ac:spMkLst>
            <pc:docMk/>
            <pc:sldMk cId="3852124055" sldId="260"/>
            <ac:spMk id="388" creationId="{31E35661-473E-E3D6-FECC-EE24C405A8CF}"/>
          </ac:spMkLst>
        </pc:spChg>
        <pc:spChg chg="mod">
          <ac:chgData name="Vikram Chandna" userId="d41689e5-46d3-462a-81dc-f998aa5c3923" providerId="ADAL" clId="{04CA8BB8-45FD-4FAA-A8DE-0B75E80B9AC6}" dt="2025-04-15T05:33:22.684" v="578" actId="1035"/>
          <ac:spMkLst>
            <pc:docMk/>
            <pc:sldMk cId="3852124055" sldId="260"/>
            <ac:spMk id="389" creationId="{F0D9A652-AE07-CC46-41CD-10FDAF2195B4}"/>
          </ac:spMkLst>
        </pc:spChg>
        <pc:spChg chg="mod">
          <ac:chgData name="Vikram Chandna" userId="d41689e5-46d3-462a-81dc-f998aa5c3923" providerId="ADAL" clId="{04CA8BB8-45FD-4FAA-A8DE-0B75E80B9AC6}" dt="2025-04-15T05:34:31.893" v="619" actId="1038"/>
          <ac:spMkLst>
            <pc:docMk/>
            <pc:sldMk cId="3852124055" sldId="260"/>
            <ac:spMk id="390" creationId="{953B8FCF-7BD3-71A8-211F-1A052DA5A87B}"/>
          </ac:spMkLst>
        </pc:spChg>
        <pc:spChg chg="mod">
          <ac:chgData name="Vikram Chandna" userId="d41689e5-46d3-462a-81dc-f998aa5c3923" providerId="ADAL" clId="{04CA8BB8-45FD-4FAA-A8DE-0B75E80B9AC6}" dt="2025-04-15T05:28:34.036" v="426" actId="554"/>
          <ac:spMkLst>
            <pc:docMk/>
            <pc:sldMk cId="3852124055" sldId="260"/>
            <ac:spMk id="391" creationId="{38AB3F33-9DF8-AFE7-B2D3-0B2777309B9C}"/>
          </ac:spMkLst>
        </pc:spChg>
        <pc:spChg chg="mod">
          <ac:chgData name="Vikram Chandna" userId="d41689e5-46d3-462a-81dc-f998aa5c3923" providerId="ADAL" clId="{04CA8BB8-45FD-4FAA-A8DE-0B75E80B9AC6}" dt="2025-04-15T05:34:31.893" v="619" actId="1038"/>
          <ac:spMkLst>
            <pc:docMk/>
            <pc:sldMk cId="3852124055" sldId="260"/>
            <ac:spMk id="393" creationId="{117C0941-1D53-05B6-F33C-5E48C21BD820}"/>
          </ac:spMkLst>
        </pc:spChg>
        <pc:spChg chg="mod">
          <ac:chgData name="Vikram Chandna" userId="d41689e5-46d3-462a-81dc-f998aa5c3923" providerId="ADAL" clId="{04CA8BB8-45FD-4FAA-A8DE-0B75E80B9AC6}" dt="2025-04-08T08:05:34.472" v="136" actId="1036"/>
          <ac:spMkLst>
            <pc:docMk/>
            <pc:sldMk cId="3852124055" sldId="260"/>
            <ac:spMk id="394" creationId="{FA38D781-6C20-9000-90F1-728C1F9CD04C}"/>
          </ac:spMkLst>
        </pc:spChg>
        <pc:spChg chg="mod">
          <ac:chgData name="Vikram Chandna" userId="d41689e5-46d3-462a-81dc-f998aa5c3923" providerId="ADAL" clId="{04CA8BB8-45FD-4FAA-A8DE-0B75E80B9AC6}" dt="2025-04-08T08:12:13.876" v="159" actId="20577"/>
          <ac:spMkLst>
            <pc:docMk/>
            <pc:sldMk cId="3852124055" sldId="260"/>
            <ac:spMk id="395" creationId="{E0B3E917-AB4E-7A3F-9908-BA8EF09FE94B}"/>
          </ac:spMkLst>
        </pc:spChg>
        <pc:spChg chg="mod">
          <ac:chgData name="Vikram Chandna" userId="d41689e5-46d3-462a-81dc-f998aa5c3923" providerId="ADAL" clId="{04CA8BB8-45FD-4FAA-A8DE-0B75E80B9AC6}" dt="2025-04-15T05:34:31.893" v="619" actId="1038"/>
          <ac:spMkLst>
            <pc:docMk/>
            <pc:sldMk cId="3852124055" sldId="260"/>
            <ac:spMk id="430" creationId="{DA9748B5-3780-F1CC-15D5-EDCA020C42EF}"/>
          </ac:spMkLst>
        </pc:spChg>
        <pc:spChg chg="mod">
          <ac:chgData name="Vikram Chandna" userId="d41689e5-46d3-462a-81dc-f998aa5c3923" providerId="ADAL" clId="{04CA8BB8-45FD-4FAA-A8DE-0B75E80B9AC6}" dt="2025-04-15T05:34:31.893" v="619" actId="1038"/>
          <ac:spMkLst>
            <pc:docMk/>
            <pc:sldMk cId="3852124055" sldId="260"/>
            <ac:spMk id="465" creationId="{C64B03B6-8DBE-6EC6-EF32-6327D5607ABB}"/>
          </ac:spMkLst>
        </pc:spChg>
        <pc:spChg chg="mod">
          <ac:chgData name="Vikram Chandna" userId="d41689e5-46d3-462a-81dc-f998aa5c3923" providerId="ADAL" clId="{04CA8BB8-45FD-4FAA-A8DE-0B75E80B9AC6}" dt="2025-04-15T05:34:31.893" v="619" actId="1038"/>
          <ac:spMkLst>
            <pc:docMk/>
            <pc:sldMk cId="3852124055" sldId="260"/>
            <ac:spMk id="486" creationId="{E97D3469-8C11-0CDB-E049-602976EDF9CF}"/>
          </ac:spMkLst>
        </pc:spChg>
        <pc:spChg chg="mod">
          <ac:chgData name="Vikram Chandna" userId="d41689e5-46d3-462a-81dc-f998aa5c3923" providerId="ADAL" clId="{04CA8BB8-45FD-4FAA-A8DE-0B75E80B9AC6}" dt="2025-04-15T05:34:31.893" v="619" actId="1038"/>
          <ac:spMkLst>
            <pc:docMk/>
            <pc:sldMk cId="3852124055" sldId="260"/>
            <ac:spMk id="502" creationId="{34FFDFAB-C0B5-0FB6-DB2F-8016C0CF5D40}"/>
          </ac:spMkLst>
        </pc:spChg>
        <pc:spChg chg="mod">
          <ac:chgData name="Vikram Chandna" userId="d41689e5-46d3-462a-81dc-f998aa5c3923" providerId="ADAL" clId="{04CA8BB8-45FD-4FAA-A8DE-0B75E80B9AC6}" dt="2025-04-15T05:34:31.893" v="619" actId="1038"/>
          <ac:spMkLst>
            <pc:docMk/>
            <pc:sldMk cId="3852124055" sldId="260"/>
            <ac:spMk id="507" creationId="{71C2FF2A-A704-BD07-7A55-B7DFE2AD7B1D}"/>
          </ac:spMkLst>
        </pc:spChg>
        <pc:spChg chg="mod">
          <ac:chgData name="Vikram Chandna" userId="d41689e5-46d3-462a-81dc-f998aa5c3923" providerId="ADAL" clId="{04CA8BB8-45FD-4FAA-A8DE-0B75E80B9AC6}" dt="2025-04-15T05:34:31.893" v="619" actId="1038"/>
          <ac:spMkLst>
            <pc:docMk/>
            <pc:sldMk cId="3852124055" sldId="260"/>
            <ac:spMk id="517" creationId="{DED730B1-36DF-DD6A-0FBC-6F4FBEEF622C}"/>
          </ac:spMkLst>
        </pc:spChg>
        <pc:grpChg chg="mod">
          <ac:chgData name="Vikram Chandna" userId="d41689e5-46d3-462a-81dc-f998aa5c3923" providerId="ADAL" clId="{04CA8BB8-45FD-4FAA-A8DE-0B75E80B9AC6}" dt="2025-04-08T08:05:34.472" v="136" actId="1036"/>
          <ac:grpSpMkLst>
            <pc:docMk/>
            <pc:sldMk cId="3852124055" sldId="260"/>
            <ac:grpSpMk id="350" creationId="{047E1CD7-0150-7383-AA6F-58B40D361064}"/>
          </ac:grpSpMkLst>
        </pc:grpChg>
        <pc:grpChg chg="mod">
          <ac:chgData name="Vikram Chandna" userId="d41689e5-46d3-462a-81dc-f998aa5c3923" providerId="ADAL" clId="{04CA8BB8-45FD-4FAA-A8DE-0B75E80B9AC6}" dt="2025-04-08T08:05:34.472" v="136" actId="1036"/>
          <ac:grpSpMkLst>
            <pc:docMk/>
            <pc:sldMk cId="3852124055" sldId="260"/>
            <ac:grpSpMk id="425" creationId="{12527594-C682-8644-9D9E-A17906901FA8}"/>
          </ac:grpSpMkLst>
        </pc:grpChg>
        <pc:grpChg chg="mod">
          <ac:chgData name="Vikram Chandna" userId="d41689e5-46d3-462a-81dc-f998aa5c3923" providerId="ADAL" clId="{04CA8BB8-45FD-4FAA-A8DE-0B75E80B9AC6}" dt="2025-04-08T08:05:34.472" v="136" actId="1036"/>
          <ac:grpSpMkLst>
            <pc:docMk/>
            <pc:sldMk cId="3852124055" sldId="260"/>
            <ac:grpSpMk id="452" creationId="{7D93D7FD-E212-C0CA-2ABC-6AFEA6044EEA}"/>
          </ac:grpSpMkLst>
        </pc:grpChg>
        <pc:grpChg chg="mod">
          <ac:chgData name="Vikram Chandna" userId="d41689e5-46d3-462a-81dc-f998aa5c3923" providerId="ADAL" clId="{04CA8BB8-45FD-4FAA-A8DE-0B75E80B9AC6}" dt="2025-04-08T08:05:34.472" v="136" actId="1036"/>
          <ac:grpSpMkLst>
            <pc:docMk/>
            <pc:sldMk cId="3852124055" sldId="260"/>
            <ac:grpSpMk id="493" creationId="{0BA21CDC-874A-562C-721D-1DC81D2D3785}"/>
          </ac:grpSpMkLst>
        </pc:grpChg>
        <pc:picChg chg="mod">
          <ac:chgData name="Vikram Chandna" userId="d41689e5-46d3-462a-81dc-f998aa5c3923" providerId="ADAL" clId="{04CA8BB8-45FD-4FAA-A8DE-0B75E80B9AC6}" dt="2025-04-15T05:37:24.121" v="679" actId="12789"/>
          <ac:picMkLst>
            <pc:docMk/>
            <pc:sldMk cId="3852124055" sldId="260"/>
            <ac:picMk id="5" creationId="{5CA2D940-9412-C3B6-0995-0FFECF129833}"/>
          </ac:picMkLst>
        </pc:picChg>
        <pc:picChg chg="add mod">
          <ac:chgData name="Vikram Chandna" userId="d41689e5-46d3-462a-81dc-f998aa5c3923" providerId="ADAL" clId="{04CA8BB8-45FD-4FAA-A8DE-0B75E80B9AC6}" dt="2025-04-15T05:50:12.222" v="684" actId="14100"/>
          <ac:picMkLst>
            <pc:docMk/>
            <pc:sldMk cId="3852124055" sldId="260"/>
            <ac:picMk id="6" creationId="{70774CA9-FCD3-293A-95D7-A50B249AA550}"/>
          </ac:picMkLst>
        </pc:picChg>
        <pc:picChg chg="mod">
          <ac:chgData name="Vikram Chandna" userId="d41689e5-46d3-462a-81dc-f998aa5c3923" providerId="ADAL" clId="{04CA8BB8-45FD-4FAA-A8DE-0B75E80B9AC6}" dt="2025-04-15T05:37:24.121" v="679" actId="12789"/>
          <ac:picMkLst>
            <pc:docMk/>
            <pc:sldMk cId="3852124055" sldId="260"/>
            <ac:picMk id="1026" creationId="{AE71F19A-F37B-F29F-4C0A-30A4083DF1D0}"/>
          </ac:picMkLst>
        </pc:picChg>
        <pc:picChg chg="mod">
          <ac:chgData name="Vikram Chandna" userId="d41689e5-46d3-462a-81dc-f998aa5c3923" providerId="ADAL" clId="{04CA8BB8-45FD-4FAA-A8DE-0B75E80B9AC6}" dt="2025-04-15T05:37:24.121" v="679" actId="12789"/>
          <ac:picMkLst>
            <pc:docMk/>
            <pc:sldMk cId="3852124055" sldId="260"/>
            <ac:picMk id="1028" creationId="{69302063-A7AE-DA1E-1C1B-B8890339DF95}"/>
          </ac:picMkLst>
        </pc:picChg>
        <pc:picChg chg="mod">
          <ac:chgData name="Vikram Chandna" userId="d41689e5-46d3-462a-81dc-f998aa5c3923" providerId="ADAL" clId="{04CA8BB8-45FD-4FAA-A8DE-0B75E80B9AC6}" dt="2025-04-15T05:50:14.253" v="687" actId="14100"/>
          <ac:picMkLst>
            <pc:docMk/>
            <pc:sldMk cId="3852124055" sldId="260"/>
            <ac:picMk id="1030" creationId="{DE027975-F635-0293-7797-4D0231569AD4}"/>
          </ac:picMkLst>
        </pc:picChg>
        <pc:picChg chg="mod">
          <ac:chgData name="Vikram Chandna" userId="d41689e5-46d3-462a-81dc-f998aa5c3923" providerId="ADAL" clId="{04CA8BB8-45FD-4FAA-A8DE-0B75E80B9AC6}" dt="2025-04-15T05:37:24.121" v="679" actId="12789"/>
          <ac:picMkLst>
            <pc:docMk/>
            <pc:sldMk cId="3852124055" sldId="260"/>
            <ac:picMk id="1032" creationId="{46802943-FCDF-2951-92C2-A3D2569142FE}"/>
          </ac:picMkLst>
        </pc:picChg>
        <pc:picChg chg="mod">
          <ac:chgData name="Vikram Chandna" userId="d41689e5-46d3-462a-81dc-f998aa5c3923" providerId="ADAL" clId="{04CA8BB8-45FD-4FAA-A8DE-0B75E80B9AC6}" dt="2025-04-15T05:37:24.121" v="679" actId="12789"/>
          <ac:picMkLst>
            <pc:docMk/>
            <pc:sldMk cId="3852124055" sldId="260"/>
            <ac:picMk id="1034" creationId="{30C26DA0-4AE6-7E5C-D538-1C4526560992}"/>
          </ac:picMkLst>
        </pc:picChg>
        <pc:cxnChg chg="add mod">
          <ac:chgData name="Vikram Chandna" userId="d41689e5-46d3-462a-81dc-f998aa5c3923" providerId="ADAL" clId="{04CA8BB8-45FD-4FAA-A8DE-0B75E80B9AC6}" dt="2025-04-17T09:51:18.629" v="740" actId="14100"/>
          <ac:cxnSpMkLst>
            <pc:docMk/>
            <pc:sldMk cId="3852124055" sldId="260"/>
            <ac:cxnSpMk id="7" creationId="{B78CE39D-1681-8936-C779-BDFEF8606D90}"/>
          </ac:cxnSpMkLst>
        </pc:cxnChg>
        <pc:cxnChg chg="add del mod">
          <ac:chgData name="Vikram Chandna" userId="d41689e5-46d3-462a-81dc-f998aa5c3923" providerId="ADAL" clId="{04CA8BB8-45FD-4FAA-A8DE-0B75E80B9AC6}" dt="2025-04-17T09:51:18.629" v="740" actId="14100"/>
          <ac:cxnSpMkLst>
            <pc:docMk/>
            <pc:sldMk cId="3852124055" sldId="260"/>
            <ac:cxnSpMk id="8" creationId="{36C280BB-64C8-9773-3B16-D85883CA85C4}"/>
          </ac:cxnSpMkLst>
        </pc:cxnChg>
        <pc:cxnChg chg="add del mod">
          <ac:chgData name="Vikram Chandna" userId="d41689e5-46d3-462a-81dc-f998aa5c3923" providerId="ADAL" clId="{04CA8BB8-45FD-4FAA-A8DE-0B75E80B9AC6}" dt="2025-04-17T09:51:18.629" v="740" actId="14100"/>
          <ac:cxnSpMkLst>
            <pc:docMk/>
            <pc:sldMk cId="3852124055" sldId="260"/>
            <ac:cxnSpMk id="9" creationId="{3B74A607-1685-19FE-BB85-C25C54E94F5A}"/>
          </ac:cxnSpMkLst>
        </pc:cxnChg>
        <pc:cxnChg chg="mod">
          <ac:chgData name="Vikram Chandna" userId="d41689e5-46d3-462a-81dc-f998aa5c3923" providerId="ADAL" clId="{04CA8BB8-45FD-4FAA-A8DE-0B75E80B9AC6}" dt="2025-04-15T07:16:16.795" v="689" actId="108"/>
          <ac:cxnSpMkLst>
            <pc:docMk/>
            <pc:sldMk cId="3852124055" sldId="260"/>
            <ac:cxnSpMk id="34" creationId="{225735E5-83F5-47D8-C96F-DD294D4BBE09}"/>
          </ac:cxnSpMkLst>
        </pc:cxnChg>
        <pc:cxnChg chg="mod">
          <ac:chgData name="Vikram Chandna" userId="d41689e5-46d3-462a-81dc-f998aa5c3923" providerId="ADAL" clId="{04CA8BB8-45FD-4FAA-A8DE-0B75E80B9AC6}" dt="2025-04-15T07:16:23.755" v="690" actId="108"/>
          <ac:cxnSpMkLst>
            <pc:docMk/>
            <pc:sldMk cId="3852124055" sldId="260"/>
            <ac:cxnSpMk id="35" creationId="{B5E3F123-2B06-E476-0B58-713553844F02}"/>
          </ac:cxnSpMkLst>
        </pc:cxnChg>
      </pc:sldChg>
      <pc:sldChg chg="del">
        <pc:chgData name="Vikram Chandna" userId="d41689e5-46d3-462a-81dc-f998aa5c3923" providerId="ADAL" clId="{04CA8BB8-45FD-4FAA-A8DE-0B75E80B9AC6}" dt="2025-04-08T06:04:36.181" v="2" actId="47"/>
        <pc:sldMkLst>
          <pc:docMk/>
          <pc:sldMk cId="1042725902" sldId="261"/>
        </pc:sldMkLst>
      </pc:sldChg>
      <pc:sldChg chg="addSp delSp modSp add del mod">
        <pc:chgData name="Vikram Chandna" userId="d41689e5-46d3-462a-81dc-f998aa5c3923" providerId="ADAL" clId="{04CA8BB8-45FD-4FAA-A8DE-0B75E80B9AC6}" dt="2025-04-08T07:14:39.421" v="40" actId="47"/>
        <pc:sldMkLst>
          <pc:docMk/>
          <pc:sldMk cId="2087818595" sldId="261"/>
        </pc:sldMkLst>
      </pc:sldChg>
      <pc:sldChg chg="addSp delSp modSp new mod">
        <pc:chgData name="Vikram Chandna" userId="d41689e5-46d3-462a-81dc-f998aa5c3923" providerId="ADAL" clId="{04CA8BB8-45FD-4FAA-A8DE-0B75E80B9AC6}" dt="2025-05-06T02:39:31.244" v="3429" actId="6549"/>
        <pc:sldMkLst>
          <pc:docMk/>
          <pc:sldMk cId="3290183935" sldId="261"/>
        </pc:sldMkLst>
        <pc:spChg chg="add mod">
          <ac:chgData name="Vikram Chandna" userId="d41689e5-46d3-462a-81dc-f998aa5c3923" providerId="ADAL" clId="{04CA8BB8-45FD-4FAA-A8DE-0B75E80B9AC6}" dt="2025-05-06T02:39:31.244" v="3429" actId="6549"/>
          <ac:spMkLst>
            <pc:docMk/>
            <pc:sldMk cId="3290183935" sldId="261"/>
            <ac:spMk id="2" creationId="{C85DF63B-E7BA-A65B-C9D2-65A655669253}"/>
          </ac:spMkLst>
        </pc:spChg>
        <pc:spChg chg="add mod">
          <ac:chgData name="Vikram Chandna" userId="d41689e5-46d3-462a-81dc-f998aa5c3923" providerId="ADAL" clId="{04CA8BB8-45FD-4FAA-A8DE-0B75E80B9AC6}" dt="2025-04-29T10:51:36.990" v="1276" actId="14100"/>
          <ac:spMkLst>
            <pc:docMk/>
            <pc:sldMk cId="3290183935" sldId="261"/>
            <ac:spMk id="3" creationId="{E97C021D-2435-F942-5376-BB79BF667382}"/>
          </ac:spMkLst>
        </pc:spChg>
        <pc:spChg chg="add del mod">
          <ac:chgData name="Vikram Chandna" userId="d41689e5-46d3-462a-81dc-f998aa5c3923" providerId="ADAL" clId="{04CA8BB8-45FD-4FAA-A8DE-0B75E80B9AC6}" dt="2025-04-30T05:57:06.633" v="3176" actId="1036"/>
          <ac:spMkLst>
            <pc:docMk/>
            <pc:sldMk cId="3290183935" sldId="261"/>
            <ac:spMk id="4" creationId="{70692BD1-A3BD-C24B-4D18-1FA2C293F6CD}"/>
          </ac:spMkLst>
        </pc:spChg>
        <pc:spChg chg="add mod">
          <ac:chgData name="Vikram Chandna" userId="d41689e5-46d3-462a-81dc-f998aa5c3923" providerId="ADAL" clId="{04CA8BB8-45FD-4FAA-A8DE-0B75E80B9AC6}" dt="2025-04-29T16:51:11.449" v="2994" actId="14100"/>
          <ac:spMkLst>
            <pc:docMk/>
            <pc:sldMk cId="3290183935" sldId="261"/>
            <ac:spMk id="5" creationId="{7789CB66-0E39-B461-ECA1-7BC29691AFE4}"/>
          </ac:spMkLst>
        </pc:spChg>
        <pc:spChg chg="add mod">
          <ac:chgData name="Vikram Chandna" userId="d41689e5-46d3-462a-81dc-f998aa5c3923" providerId="ADAL" clId="{04CA8BB8-45FD-4FAA-A8DE-0B75E80B9AC6}" dt="2025-04-29T16:52:15.955" v="3016" actId="1036"/>
          <ac:spMkLst>
            <pc:docMk/>
            <pc:sldMk cId="3290183935" sldId="261"/>
            <ac:spMk id="6" creationId="{B24F5A3E-1F3D-B179-5471-215F3ECA9AC5}"/>
          </ac:spMkLst>
        </pc:spChg>
        <pc:spChg chg="add mod">
          <ac:chgData name="Vikram Chandna" userId="d41689e5-46d3-462a-81dc-f998aa5c3923" providerId="ADAL" clId="{04CA8BB8-45FD-4FAA-A8DE-0B75E80B9AC6}" dt="2025-04-29T16:52:15.955" v="3016" actId="1036"/>
          <ac:spMkLst>
            <pc:docMk/>
            <pc:sldMk cId="3290183935" sldId="261"/>
            <ac:spMk id="7" creationId="{C0D9C1F0-0C27-9287-293A-21CAD86C2BA1}"/>
          </ac:spMkLst>
        </pc:spChg>
        <pc:spChg chg="add mod">
          <ac:chgData name="Vikram Chandna" userId="d41689e5-46d3-462a-81dc-f998aa5c3923" providerId="ADAL" clId="{04CA8BB8-45FD-4FAA-A8DE-0B75E80B9AC6}" dt="2025-04-29T16:52:15.955" v="3016" actId="1036"/>
          <ac:spMkLst>
            <pc:docMk/>
            <pc:sldMk cId="3290183935" sldId="261"/>
            <ac:spMk id="8" creationId="{FD284F87-20C2-2BF1-7568-3C3DCA4A2676}"/>
          </ac:spMkLst>
        </pc:spChg>
        <pc:spChg chg="add mod">
          <ac:chgData name="Vikram Chandna" userId="d41689e5-46d3-462a-81dc-f998aa5c3923" providerId="ADAL" clId="{04CA8BB8-45FD-4FAA-A8DE-0B75E80B9AC6}" dt="2025-04-29T16:52:15.955" v="3016" actId="1036"/>
          <ac:spMkLst>
            <pc:docMk/>
            <pc:sldMk cId="3290183935" sldId="261"/>
            <ac:spMk id="9" creationId="{D5974044-0AE2-319D-3CF8-EE8943410A4C}"/>
          </ac:spMkLst>
        </pc:spChg>
        <pc:spChg chg="add mod">
          <ac:chgData name="Vikram Chandna" userId="d41689e5-46d3-462a-81dc-f998aa5c3923" providerId="ADAL" clId="{04CA8BB8-45FD-4FAA-A8DE-0B75E80B9AC6}" dt="2025-04-29T16:52:15.955" v="3016" actId="1036"/>
          <ac:spMkLst>
            <pc:docMk/>
            <pc:sldMk cId="3290183935" sldId="261"/>
            <ac:spMk id="10" creationId="{A57E0437-9918-CA92-78E9-F1A4423A6E73}"/>
          </ac:spMkLst>
        </pc:spChg>
        <pc:spChg chg="add mod">
          <ac:chgData name="Vikram Chandna" userId="d41689e5-46d3-462a-81dc-f998aa5c3923" providerId="ADAL" clId="{04CA8BB8-45FD-4FAA-A8DE-0B75E80B9AC6}" dt="2025-04-29T10:56:28.593" v="1504" actId="1035"/>
          <ac:spMkLst>
            <pc:docMk/>
            <pc:sldMk cId="3290183935" sldId="261"/>
            <ac:spMk id="11" creationId="{637B1650-2498-AA6F-1C69-3F870355B162}"/>
          </ac:spMkLst>
        </pc:spChg>
        <pc:spChg chg="add mod">
          <ac:chgData name="Vikram Chandna" userId="d41689e5-46d3-462a-81dc-f998aa5c3923" providerId="ADAL" clId="{04CA8BB8-45FD-4FAA-A8DE-0B75E80B9AC6}" dt="2025-04-29T11:52:35.254" v="2698" actId="1076"/>
          <ac:spMkLst>
            <pc:docMk/>
            <pc:sldMk cId="3290183935" sldId="261"/>
            <ac:spMk id="14" creationId="{07C64AA3-B649-3651-1841-3141D2B820D9}"/>
          </ac:spMkLst>
        </pc:spChg>
        <pc:spChg chg="mod">
          <ac:chgData name="Vikram Chandna" userId="d41689e5-46d3-462a-81dc-f998aa5c3923" providerId="ADAL" clId="{04CA8BB8-45FD-4FAA-A8DE-0B75E80B9AC6}" dt="2025-04-30T06:04:30.702" v="3236"/>
          <ac:spMkLst>
            <pc:docMk/>
            <pc:sldMk cId="3290183935" sldId="261"/>
            <ac:spMk id="32" creationId="{C5500E96-99CA-573A-D8A6-3B6BEDEC4D66}"/>
          </ac:spMkLst>
        </pc:spChg>
        <pc:spChg chg="mod">
          <ac:chgData name="Vikram Chandna" userId="d41689e5-46d3-462a-81dc-f998aa5c3923" providerId="ADAL" clId="{04CA8BB8-45FD-4FAA-A8DE-0B75E80B9AC6}" dt="2025-04-30T06:04:30.702" v="3236"/>
          <ac:spMkLst>
            <pc:docMk/>
            <pc:sldMk cId="3290183935" sldId="261"/>
            <ac:spMk id="33" creationId="{C80AB0FD-1D1A-3189-53DB-9FDFB9802CCE}"/>
          </ac:spMkLst>
        </pc:spChg>
        <pc:spChg chg="mod">
          <ac:chgData name="Vikram Chandna" userId="d41689e5-46d3-462a-81dc-f998aa5c3923" providerId="ADAL" clId="{04CA8BB8-45FD-4FAA-A8DE-0B75E80B9AC6}" dt="2025-04-30T06:04:30.702" v="3236"/>
          <ac:spMkLst>
            <pc:docMk/>
            <pc:sldMk cId="3290183935" sldId="261"/>
            <ac:spMk id="34" creationId="{0EF234F2-3A4C-513A-6843-E173F120B790}"/>
          </ac:spMkLst>
        </pc:spChg>
        <pc:spChg chg="mod">
          <ac:chgData name="Vikram Chandna" userId="d41689e5-46d3-462a-81dc-f998aa5c3923" providerId="ADAL" clId="{04CA8BB8-45FD-4FAA-A8DE-0B75E80B9AC6}" dt="2025-04-30T06:04:30.702" v="3236"/>
          <ac:spMkLst>
            <pc:docMk/>
            <pc:sldMk cId="3290183935" sldId="261"/>
            <ac:spMk id="35" creationId="{028A4C5D-F603-E1A6-3391-A3DF2E05F6E2}"/>
          </ac:spMkLst>
        </pc:spChg>
        <pc:spChg chg="mod">
          <ac:chgData name="Vikram Chandna" userId="d41689e5-46d3-462a-81dc-f998aa5c3923" providerId="ADAL" clId="{04CA8BB8-45FD-4FAA-A8DE-0B75E80B9AC6}" dt="2025-04-30T06:04:30.702" v="3236"/>
          <ac:spMkLst>
            <pc:docMk/>
            <pc:sldMk cId="3290183935" sldId="261"/>
            <ac:spMk id="36" creationId="{C3B1141B-2801-3DFF-F945-33417B8AAF71}"/>
          </ac:spMkLst>
        </pc:spChg>
        <pc:spChg chg="add mod">
          <ac:chgData name="Vikram Chandna" userId="d41689e5-46d3-462a-81dc-f998aa5c3923" providerId="ADAL" clId="{04CA8BB8-45FD-4FAA-A8DE-0B75E80B9AC6}" dt="2025-04-30T05:54:02.708" v="3118" actId="403"/>
          <ac:spMkLst>
            <pc:docMk/>
            <pc:sldMk cId="3290183935" sldId="261"/>
            <ac:spMk id="37" creationId="{CEE8EB2B-D7E2-573D-7E9A-FFD9C9D27ACF}"/>
          </ac:spMkLst>
        </pc:spChg>
        <pc:spChg chg="add mod">
          <ac:chgData name="Vikram Chandna" userId="d41689e5-46d3-462a-81dc-f998aa5c3923" providerId="ADAL" clId="{04CA8BB8-45FD-4FAA-A8DE-0B75E80B9AC6}" dt="2025-04-30T05:54:02.708" v="3118" actId="403"/>
          <ac:spMkLst>
            <pc:docMk/>
            <pc:sldMk cId="3290183935" sldId="261"/>
            <ac:spMk id="38" creationId="{215762FB-D205-509B-194D-528C3C878BE0}"/>
          </ac:spMkLst>
        </pc:spChg>
        <pc:spChg chg="add mod">
          <ac:chgData name="Vikram Chandna" userId="d41689e5-46d3-462a-81dc-f998aa5c3923" providerId="ADAL" clId="{04CA8BB8-45FD-4FAA-A8DE-0B75E80B9AC6}" dt="2025-04-30T05:54:02.708" v="3118" actId="403"/>
          <ac:spMkLst>
            <pc:docMk/>
            <pc:sldMk cId="3290183935" sldId="261"/>
            <ac:spMk id="39" creationId="{231DB782-76DC-59C7-8C77-FE11CFFDD6DA}"/>
          </ac:spMkLst>
        </pc:spChg>
        <pc:spChg chg="add mod">
          <ac:chgData name="Vikram Chandna" userId="d41689e5-46d3-462a-81dc-f998aa5c3923" providerId="ADAL" clId="{04CA8BB8-45FD-4FAA-A8DE-0B75E80B9AC6}" dt="2025-04-30T05:54:02.708" v="3118" actId="403"/>
          <ac:spMkLst>
            <pc:docMk/>
            <pc:sldMk cId="3290183935" sldId="261"/>
            <ac:spMk id="40" creationId="{0C10FA46-F79B-1D74-4964-D1769B29E10E}"/>
          </ac:spMkLst>
        </pc:spChg>
        <pc:spChg chg="add mod">
          <ac:chgData name="Vikram Chandna" userId="d41689e5-46d3-462a-81dc-f998aa5c3923" providerId="ADAL" clId="{04CA8BB8-45FD-4FAA-A8DE-0B75E80B9AC6}" dt="2025-04-29T10:50:56.828" v="1262" actId="1036"/>
          <ac:spMkLst>
            <pc:docMk/>
            <pc:sldMk cId="3290183935" sldId="261"/>
            <ac:spMk id="41" creationId="{C432AF92-90EF-0E66-136A-22AA597ADDD9}"/>
          </ac:spMkLst>
        </pc:spChg>
        <pc:spChg chg="add mod">
          <ac:chgData name="Vikram Chandna" userId="d41689e5-46d3-462a-81dc-f998aa5c3923" providerId="ADAL" clId="{04CA8BB8-45FD-4FAA-A8DE-0B75E80B9AC6}" dt="2025-04-30T06:12:56.848" v="3263" actId="1035"/>
          <ac:spMkLst>
            <pc:docMk/>
            <pc:sldMk cId="3290183935" sldId="261"/>
            <ac:spMk id="42" creationId="{6028A9CD-EF72-F7FB-C75C-1E0C5CFC879C}"/>
          </ac:spMkLst>
        </pc:spChg>
        <pc:spChg chg="add mod">
          <ac:chgData name="Vikram Chandna" userId="d41689e5-46d3-462a-81dc-f998aa5c3923" providerId="ADAL" clId="{04CA8BB8-45FD-4FAA-A8DE-0B75E80B9AC6}" dt="2025-04-29T10:56:32.715" v="1505" actId="108"/>
          <ac:spMkLst>
            <pc:docMk/>
            <pc:sldMk cId="3290183935" sldId="261"/>
            <ac:spMk id="45" creationId="{D3B967AD-E28D-F1AB-1C49-284E3AD5F492}"/>
          </ac:spMkLst>
        </pc:spChg>
        <pc:spChg chg="add mod">
          <ac:chgData name="Vikram Chandna" userId="d41689e5-46d3-462a-81dc-f998aa5c3923" providerId="ADAL" clId="{04CA8BB8-45FD-4FAA-A8DE-0B75E80B9AC6}" dt="2025-04-30T06:26:43.253" v="3366" actId="1076"/>
          <ac:spMkLst>
            <pc:docMk/>
            <pc:sldMk cId="3290183935" sldId="261"/>
            <ac:spMk id="48" creationId="{2D12B0A1-D258-2A12-8BD7-9489475836F2}"/>
          </ac:spMkLst>
        </pc:spChg>
        <pc:spChg chg="add mod">
          <ac:chgData name="Vikram Chandna" userId="d41689e5-46d3-462a-81dc-f998aa5c3923" providerId="ADAL" clId="{04CA8BB8-45FD-4FAA-A8DE-0B75E80B9AC6}" dt="2025-04-29T11:51:12.335" v="2600" actId="1076"/>
          <ac:spMkLst>
            <pc:docMk/>
            <pc:sldMk cId="3290183935" sldId="261"/>
            <ac:spMk id="49" creationId="{F358926D-4291-C7A4-882A-C478204AB017}"/>
          </ac:spMkLst>
        </pc:spChg>
        <pc:spChg chg="add mod">
          <ac:chgData name="Vikram Chandna" userId="d41689e5-46d3-462a-81dc-f998aa5c3923" providerId="ADAL" clId="{04CA8BB8-45FD-4FAA-A8DE-0B75E80B9AC6}" dt="2025-04-29T11:29:01.287" v="2053" actId="1076"/>
          <ac:spMkLst>
            <pc:docMk/>
            <pc:sldMk cId="3290183935" sldId="261"/>
            <ac:spMk id="50" creationId="{B025BE3C-092F-058E-3847-1D3DA51D2125}"/>
          </ac:spMkLst>
        </pc:spChg>
        <pc:spChg chg="add mod">
          <ac:chgData name="Vikram Chandna" userId="d41689e5-46d3-462a-81dc-f998aa5c3923" providerId="ADAL" clId="{04CA8BB8-45FD-4FAA-A8DE-0B75E80B9AC6}" dt="2025-04-30T06:26:48.154" v="3367" actId="1076"/>
          <ac:spMkLst>
            <pc:docMk/>
            <pc:sldMk cId="3290183935" sldId="261"/>
            <ac:spMk id="52" creationId="{20CFC515-BC7C-F99B-A7DF-F6B1079981D3}"/>
          </ac:spMkLst>
        </pc:spChg>
        <pc:spChg chg="add mod">
          <ac:chgData name="Vikram Chandna" userId="d41689e5-46d3-462a-81dc-f998aa5c3923" providerId="ADAL" clId="{04CA8BB8-45FD-4FAA-A8DE-0B75E80B9AC6}" dt="2025-04-29T11:48:58.743" v="2593" actId="1076"/>
          <ac:spMkLst>
            <pc:docMk/>
            <pc:sldMk cId="3290183935" sldId="261"/>
            <ac:spMk id="57" creationId="{7F71130B-BF35-C8BA-B514-EABBDFD825C4}"/>
          </ac:spMkLst>
        </pc:spChg>
        <pc:spChg chg="add mod">
          <ac:chgData name="Vikram Chandna" userId="d41689e5-46d3-462a-81dc-f998aa5c3923" providerId="ADAL" clId="{04CA8BB8-45FD-4FAA-A8DE-0B75E80B9AC6}" dt="2025-04-29T11:31:03.429" v="2080" actId="20577"/>
          <ac:spMkLst>
            <pc:docMk/>
            <pc:sldMk cId="3290183935" sldId="261"/>
            <ac:spMk id="58" creationId="{B9B91CF0-2F36-A404-71A9-7FF4CC7EADEB}"/>
          </ac:spMkLst>
        </pc:spChg>
        <pc:spChg chg="add mod">
          <ac:chgData name="Vikram Chandna" userId="d41689e5-46d3-462a-81dc-f998aa5c3923" providerId="ADAL" clId="{04CA8BB8-45FD-4FAA-A8DE-0B75E80B9AC6}" dt="2025-04-29T11:51:29.539" v="2639" actId="1038"/>
          <ac:spMkLst>
            <pc:docMk/>
            <pc:sldMk cId="3290183935" sldId="261"/>
            <ac:spMk id="60" creationId="{00CBEEAB-6928-1EEF-E69B-C7EB299C689E}"/>
          </ac:spMkLst>
        </pc:spChg>
        <pc:spChg chg="add mod">
          <ac:chgData name="Vikram Chandna" userId="d41689e5-46d3-462a-81dc-f998aa5c3923" providerId="ADAL" clId="{04CA8BB8-45FD-4FAA-A8DE-0B75E80B9AC6}" dt="2025-04-29T16:51:18.386" v="2995" actId="122"/>
          <ac:spMkLst>
            <pc:docMk/>
            <pc:sldMk cId="3290183935" sldId="261"/>
            <ac:spMk id="61" creationId="{6E6E1F08-B5B0-FFCD-2405-59B3F3099A65}"/>
          </ac:spMkLst>
        </pc:spChg>
        <pc:spChg chg="mod">
          <ac:chgData name="Vikram Chandna" userId="d41689e5-46d3-462a-81dc-f998aa5c3923" providerId="ADAL" clId="{04CA8BB8-45FD-4FAA-A8DE-0B75E80B9AC6}" dt="2025-04-29T11:29:01.287" v="2053" actId="1076"/>
          <ac:spMkLst>
            <pc:docMk/>
            <pc:sldMk cId="3290183935" sldId="261"/>
            <ac:spMk id="62" creationId="{BE116F64-AACA-C1A7-DE4C-ACE7A2B9AE86}"/>
          </ac:spMkLst>
        </pc:spChg>
        <pc:spChg chg="add mod">
          <ac:chgData name="Vikram Chandna" userId="d41689e5-46d3-462a-81dc-f998aa5c3923" providerId="ADAL" clId="{04CA8BB8-45FD-4FAA-A8DE-0B75E80B9AC6}" dt="2025-04-29T11:12:57.107" v="1612" actId="1036"/>
          <ac:spMkLst>
            <pc:docMk/>
            <pc:sldMk cId="3290183935" sldId="261"/>
            <ac:spMk id="63" creationId="{B7F93FC8-8C40-EB1F-31C4-EB673D334E5F}"/>
          </ac:spMkLst>
        </pc:spChg>
        <pc:spChg chg="mod">
          <ac:chgData name="Vikram Chandna" userId="d41689e5-46d3-462a-81dc-f998aa5c3923" providerId="ADAL" clId="{04CA8BB8-45FD-4FAA-A8DE-0B75E80B9AC6}" dt="2025-04-29T11:11:42.586" v="1593" actId="693"/>
          <ac:spMkLst>
            <pc:docMk/>
            <pc:sldMk cId="3290183935" sldId="261"/>
            <ac:spMk id="64" creationId="{F34A0E9B-3F1B-CC51-B4DA-E185333703E3}"/>
          </ac:spMkLst>
        </pc:spChg>
        <pc:spChg chg="add mod">
          <ac:chgData name="Vikram Chandna" userId="d41689e5-46d3-462a-81dc-f998aa5c3923" providerId="ADAL" clId="{04CA8BB8-45FD-4FAA-A8DE-0B75E80B9AC6}" dt="2025-04-29T11:51:21.762" v="2620" actId="1038"/>
          <ac:spMkLst>
            <pc:docMk/>
            <pc:sldMk cId="3290183935" sldId="261"/>
            <ac:spMk id="66" creationId="{AF3C6947-002C-B9E6-C6E9-E753C7FDB379}"/>
          </ac:spMkLst>
        </pc:spChg>
        <pc:spChg chg="mod">
          <ac:chgData name="Vikram Chandna" userId="d41689e5-46d3-462a-81dc-f998aa5c3923" providerId="ADAL" clId="{04CA8BB8-45FD-4FAA-A8DE-0B75E80B9AC6}" dt="2025-04-30T06:00:54.128" v="3195" actId="1036"/>
          <ac:spMkLst>
            <pc:docMk/>
            <pc:sldMk cId="3290183935" sldId="261"/>
            <ac:spMk id="67" creationId="{6EAB85C3-1F3A-D8FF-8259-00CEC84FCADD}"/>
          </ac:spMkLst>
        </pc:spChg>
        <pc:spChg chg="add mod">
          <ac:chgData name="Vikram Chandna" userId="d41689e5-46d3-462a-81dc-f998aa5c3923" providerId="ADAL" clId="{04CA8BB8-45FD-4FAA-A8DE-0B75E80B9AC6}" dt="2025-04-30T06:00:54.128" v="3195" actId="1036"/>
          <ac:spMkLst>
            <pc:docMk/>
            <pc:sldMk cId="3290183935" sldId="261"/>
            <ac:spMk id="68" creationId="{813E8911-83F8-D5D5-68CE-2D023611C60A}"/>
          </ac:spMkLst>
        </pc:spChg>
        <pc:spChg chg="add mod">
          <ac:chgData name="Vikram Chandna" userId="d41689e5-46d3-462a-81dc-f998aa5c3923" providerId="ADAL" clId="{04CA8BB8-45FD-4FAA-A8DE-0B75E80B9AC6}" dt="2025-04-30T06:00:54.128" v="3195" actId="1036"/>
          <ac:spMkLst>
            <pc:docMk/>
            <pc:sldMk cId="3290183935" sldId="261"/>
            <ac:spMk id="69" creationId="{226704C1-BC9E-E80D-7FAF-7AEF118AE683}"/>
          </ac:spMkLst>
        </pc:spChg>
        <pc:spChg chg="mod">
          <ac:chgData name="Vikram Chandna" userId="d41689e5-46d3-462a-81dc-f998aa5c3923" providerId="ADAL" clId="{04CA8BB8-45FD-4FAA-A8DE-0B75E80B9AC6}" dt="2025-04-29T11:51:12.335" v="2600" actId="1076"/>
          <ac:spMkLst>
            <pc:docMk/>
            <pc:sldMk cId="3290183935" sldId="261"/>
            <ac:spMk id="70" creationId="{ED126125-A805-2123-7620-4AF868CD020B}"/>
          </ac:spMkLst>
        </pc:spChg>
        <pc:spChg chg="mod">
          <ac:chgData name="Vikram Chandna" userId="d41689e5-46d3-462a-81dc-f998aa5c3923" providerId="ADAL" clId="{04CA8BB8-45FD-4FAA-A8DE-0B75E80B9AC6}" dt="2025-04-30T06:00:54.128" v="3195" actId="1036"/>
          <ac:spMkLst>
            <pc:docMk/>
            <pc:sldMk cId="3290183935" sldId="261"/>
            <ac:spMk id="73" creationId="{FBB2CE02-7442-3529-5AC7-ACC4A153AB7B}"/>
          </ac:spMkLst>
        </pc:spChg>
        <pc:spChg chg="add mod">
          <ac:chgData name="Vikram Chandna" userId="d41689e5-46d3-462a-81dc-f998aa5c3923" providerId="ADAL" clId="{04CA8BB8-45FD-4FAA-A8DE-0B75E80B9AC6}" dt="2025-04-29T11:51:21.762" v="2620" actId="1038"/>
          <ac:spMkLst>
            <pc:docMk/>
            <pc:sldMk cId="3290183935" sldId="261"/>
            <ac:spMk id="74" creationId="{F213AD94-A00E-94C8-DFEF-F5DB18547621}"/>
          </ac:spMkLst>
        </pc:spChg>
        <pc:spChg chg="mod">
          <ac:chgData name="Vikram Chandna" userId="d41689e5-46d3-462a-81dc-f998aa5c3923" providerId="ADAL" clId="{04CA8BB8-45FD-4FAA-A8DE-0B75E80B9AC6}" dt="2025-04-29T11:51:21.762" v="2620" actId="1038"/>
          <ac:spMkLst>
            <pc:docMk/>
            <pc:sldMk cId="3290183935" sldId="261"/>
            <ac:spMk id="75" creationId="{2A08D83F-4DD6-E243-11C4-143EB680FCD3}"/>
          </ac:spMkLst>
        </pc:spChg>
        <pc:spChg chg="add mod">
          <ac:chgData name="Vikram Chandna" userId="d41689e5-46d3-462a-81dc-f998aa5c3923" providerId="ADAL" clId="{04CA8BB8-45FD-4FAA-A8DE-0B75E80B9AC6}" dt="2025-04-30T06:00:54.128" v="3195" actId="1036"/>
          <ac:spMkLst>
            <pc:docMk/>
            <pc:sldMk cId="3290183935" sldId="261"/>
            <ac:spMk id="76" creationId="{43431A57-9B9A-5AA2-70AC-12E061896DF1}"/>
          </ac:spMkLst>
        </pc:spChg>
        <pc:spChg chg="add mod">
          <ac:chgData name="Vikram Chandna" userId="d41689e5-46d3-462a-81dc-f998aa5c3923" providerId="ADAL" clId="{04CA8BB8-45FD-4FAA-A8DE-0B75E80B9AC6}" dt="2025-04-30T06:00:54.128" v="3195" actId="1036"/>
          <ac:spMkLst>
            <pc:docMk/>
            <pc:sldMk cId="3290183935" sldId="261"/>
            <ac:spMk id="77" creationId="{DBE21410-50A4-17C3-4BB1-CB7457071659}"/>
          </ac:spMkLst>
        </pc:spChg>
        <pc:spChg chg="add mod">
          <ac:chgData name="Vikram Chandna" userId="d41689e5-46d3-462a-81dc-f998aa5c3923" providerId="ADAL" clId="{04CA8BB8-45FD-4FAA-A8DE-0B75E80B9AC6}" dt="2025-04-29T11:44:16.248" v="2524" actId="1036"/>
          <ac:spMkLst>
            <pc:docMk/>
            <pc:sldMk cId="3290183935" sldId="261"/>
            <ac:spMk id="78" creationId="{4CBB8021-8D71-2EA1-5270-CE5AFF2E20BF}"/>
          </ac:spMkLst>
        </pc:spChg>
        <pc:spChg chg="add mod">
          <ac:chgData name="Vikram Chandna" userId="d41689e5-46d3-462a-81dc-f998aa5c3923" providerId="ADAL" clId="{04CA8BB8-45FD-4FAA-A8DE-0B75E80B9AC6}" dt="2025-04-30T06:00:54.128" v="3195" actId="1036"/>
          <ac:spMkLst>
            <pc:docMk/>
            <pc:sldMk cId="3290183935" sldId="261"/>
            <ac:spMk id="79" creationId="{6C0C63E6-3FB3-48D2-0423-97D2E313A285}"/>
          </ac:spMkLst>
        </pc:spChg>
        <pc:spChg chg="mod">
          <ac:chgData name="Vikram Chandna" userId="d41689e5-46d3-462a-81dc-f998aa5c3923" providerId="ADAL" clId="{04CA8BB8-45FD-4FAA-A8DE-0B75E80B9AC6}" dt="2025-04-30T06:00:54.128" v="3195" actId="1036"/>
          <ac:spMkLst>
            <pc:docMk/>
            <pc:sldMk cId="3290183935" sldId="261"/>
            <ac:spMk id="80" creationId="{F0108169-6355-0B86-AC30-2CAE53569AAE}"/>
          </ac:spMkLst>
        </pc:spChg>
        <pc:spChg chg="add mod">
          <ac:chgData name="Vikram Chandna" userId="d41689e5-46d3-462a-81dc-f998aa5c3923" providerId="ADAL" clId="{04CA8BB8-45FD-4FAA-A8DE-0B75E80B9AC6}" dt="2025-04-29T11:51:21.762" v="2620" actId="1038"/>
          <ac:spMkLst>
            <pc:docMk/>
            <pc:sldMk cId="3290183935" sldId="261"/>
            <ac:spMk id="81" creationId="{26DDEB83-5774-F531-9275-3778288965DA}"/>
          </ac:spMkLst>
        </pc:spChg>
        <pc:spChg chg="add mod">
          <ac:chgData name="Vikram Chandna" userId="d41689e5-46d3-462a-81dc-f998aa5c3923" providerId="ADAL" clId="{04CA8BB8-45FD-4FAA-A8DE-0B75E80B9AC6}" dt="2025-04-30T06:01:00.132" v="3208" actId="1035"/>
          <ac:spMkLst>
            <pc:docMk/>
            <pc:sldMk cId="3290183935" sldId="261"/>
            <ac:spMk id="86" creationId="{AE554B25-9A2B-EF10-3E4B-3C8088A462D9}"/>
          </ac:spMkLst>
        </pc:spChg>
        <pc:spChg chg="add mod">
          <ac:chgData name="Vikram Chandna" userId="d41689e5-46d3-462a-81dc-f998aa5c3923" providerId="ADAL" clId="{04CA8BB8-45FD-4FAA-A8DE-0B75E80B9AC6}" dt="2025-04-30T09:20:38.143" v="3389" actId="108"/>
          <ac:spMkLst>
            <pc:docMk/>
            <pc:sldMk cId="3290183935" sldId="261"/>
            <ac:spMk id="87" creationId="{70E0D85A-34DB-BF51-817C-AE4BF86483FB}"/>
          </ac:spMkLst>
        </pc:spChg>
        <pc:spChg chg="add mod">
          <ac:chgData name="Vikram Chandna" userId="d41689e5-46d3-462a-81dc-f998aa5c3923" providerId="ADAL" clId="{04CA8BB8-45FD-4FAA-A8DE-0B75E80B9AC6}" dt="2025-04-30T05:54:09.484" v="3123" actId="403"/>
          <ac:spMkLst>
            <pc:docMk/>
            <pc:sldMk cId="3290183935" sldId="261"/>
            <ac:spMk id="101" creationId="{43B5C6C6-1BDF-9968-8487-48228BEBDACA}"/>
          </ac:spMkLst>
        </pc:spChg>
        <pc:spChg chg="mod">
          <ac:chgData name="Vikram Chandna" userId="d41689e5-46d3-462a-81dc-f998aa5c3923" providerId="ADAL" clId="{04CA8BB8-45FD-4FAA-A8DE-0B75E80B9AC6}" dt="2025-04-29T11:18:31.538" v="1741" actId="208"/>
          <ac:spMkLst>
            <pc:docMk/>
            <pc:sldMk cId="3290183935" sldId="261"/>
            <ac:spMk id="103" creationId="{94D2C1F6-98D8-BBC3-ECB4-08CECBE57DFF}"/>
          </ac:spMkLst>
        </pc:spChg>
        <pc:spChg chg="mod">
          <ac:chgData name="Vikram Chandna" userId="d41689e5-46d3-462a-81dc-f998aa5c3923" providerId="ADAL" clId="{04CA8BB8-45FD-4FAA-A8DE-0B75E80B9AC6}" dt="2025-04-29T11:18:31.538" v="1741" actId="208"/>
          <ac:spMkLst>
            <pc:docMk/>
            <pc:sldMk cId="3290183935" sldId="261"/>
            <ac:spMk id="104" creationId="{27A4F4BA-FBC7-AE5C-079D-6DE70E32096A}"/>
          </ac:spMkLst>
        </pc:spChg>
        <pc:spChg chg="mod">
          <ac:chgData name="Vikram Chandna" userId="d41689e5-46d3-462a-81dc-f998aa5c3923" providerId="ADAL" clId="{04CA8BB8-45FD-4FAA-A8DE-0B75E80B9AC6}" dt="2025-04-29T11:18:31.538" v="1741" actId="208"/>
          <ac:spMkLst>
            <pc:docMk/>
            <pc:sldMk cId="3290183935" sldId="261"/>
            <ac:spMk id="105" creationId="{25D9BE0C-8572-7F95-4040-8D4FCFD8DDD9}"/>
          </ac:spMkLst>
        </pc:spChg>
        <pc:spChg chg="mod">
          <ac:chgData name="Vikram Chandna" userId="d41689e5-46d3-462a-81dc-f998aa5c3923" providerId="ADAL" clId="{04CA8BB8-45FD-4FAA-A8DE-0B75E80B9AC6}" dt="2025-04-29T11:18:31.538" v="1741" actId="208"/>
          <ac:spMkLst>
            <pc:docMk/>
            <pc:sldMk cId="3290183935" sldId="261"/>
            <ac:spMk id="106" creationId="{D8FD44F9-AA66-B36D-DA59-09680325F5CB}"/>
          </ac:spMkLst>
        </pc:spChg>
        <pc:spChg chg="mod">
          <ac:chgData name="Vikram Chandna" userId="d41689e5-46d3-462a-81dc-f998aa5c3923" providerId="ADAL" clId="{04CA8BB8-45FD-4FAA-A8DE-0B75E80B9AC6}" dt="2025-04-29T11:18:31.538" v="1741" actId="208"/>
          <ac:spMkLst>
            <pc:docMk/>
            <pc:sldMk cId="3290183935" sldId="261"/>
            <ac:spMk id="107" creationId="{65A5C4E1-1D00-62CC-4353-647BC28F58C0}"/>
          </ac:spMkLst>
        </pc:spChg>
        <pc:spChg chg="mod">
          <ac:chgData name="Vikram Chandna" userId="d41689e5-46d3-462a-81dc-f998aa5c3923" providerId="ADAL" clId="{04CA8BB8-45FD-4FAA-A8DE-0B75E80B9AC6}" dt="2025-04-29T11:18:31.538" v="1741" actId="208"/>
          <ac:spMkLst>
            <pc:docMk/>
            <pc:sldMk cId="3290183935" sldId="261"/>
            <ac:spMk id="108" creationId="{DD238892-F316-3813-54FE-508A0F8B33F0}"/>
          </ac:spMkLst>
        </pc:spChg>
        <pc:spChg chg="add mod ord">
          <ac:chgData name="Vikram Chandna" userId="d41689e5-46d3-462a-81dc-f998aa5c3923" providerId="ADAL" clId="{04CA8BB8-45FD-4FAA-A8DE-0B75E80B9AC6}" dt="2025-04-29T11:23:13.239" v="1903" actId="171"/>
          <ac:spMkLst>
            <pc:docMk/>
            <pc:sldMk cId="3290183935" sldId="261"/>
            <ac:spMk id="110" creationId="{ED8C5B3A-28C8-9F58-849E-7BF721C1058C}"/>
          </ac:spMkLst>
        </pc:spChg>
        <pc:spChg chg="add mod">
          <ac:chgData name="Vikram Chandna" userId="d41689e5-46d3-462a-81dc-f998aa5c3923" providerId="ADAL" clId="{04CA8BB8-45FD-4FAA-A8DE-0B75E80B9AC6}" dt="2025-04-30T05:53:57.003" v="3117" actId="403"/>
          <ac:spMkLst>
            <pc:docMk/>
            <pc:sldMk cId="3290183935" sldId="261"/>
            <ac:spMk id="111" creationId="{41F41B89-FDBC-2CB4-E44E-66BA814502D0}"/>
          </ac:spMkLst>
        </pc:spChg>
        <pc:spChg chg="add mod">
          <ac:chgData name="Vikram Chandna" userId="d41689e5-46d3-462a-81dc-f998aa5c3923" providerId="ADAL" clId="{04CA8BB8-45FD-4FAA-A8DE-0B75E80B9AC6}" dt="2025-04-30T09:20:35.079" v="3388" actId="108"/>
          <ac:spMkLst>
            <pc:docMk/>
            <pc:sldMk cId="3290183935" sldId="261"/>
            <ac:spMk id="112" creationId="{C9888D38-493D-9322-22BA-85BD9E0885B8}"/>
          </ac:spMkLst>
        </pc:spChg>
        <pc:spChg chg="add mod">
          <ac:chgData name="Vikram Chandna" userId="d41689e5-46d3-462a-81dc-f998aa5c3923" providerId="ADAL" clId="{04CA8BB8-45FD-4FAA-A8DE-0B75E80B9AC6}" dt="2025-04-30T09:20:32.163" v="3387" actId="108"/>
          <ac:spMkLst>
            <pc:docMk/>
            <pc:sldMk cId="3290183935" sldId="261"/>
            <ac:spMk id="113" creationId="{5FC4405B-817E-F683-12C3-9CC315230CDC}"/>
          </ac:spMkLst>
        </pc:spChg>
        <pc:spChg chg="add mod">
          <ac:chgData name="Vikram Chandna" userId="d41689e5-46d3-462a-81dc-f998aa5c3923" providerId="ADAL" clId="{04CA8BB8-45FD-4FAA-A8DE-0B75E80B9AC6}" dt="2025-04-30T09:20:29.308" v="3386" actId="108"/>
          <ac:spMkLst>
            <pc:docMk/>
            <pc:sldMk cId="3290183935" sldId="261"/>
            <ac:spMk id="114" creationId="{EB5BF8CB-A5FC-0BF3-3F91-AC75FBAA7519}"/>
          </ac:spMkLst>
        </pc:spChg>
        <pc:spChg chg="add mod">
          <ac:chgData name="Vikram Chandna" userId="d41689e5-46d3-462a-81dc-f998aa5c3923" providerId="ADAL" clId="{04CA8BB8-45FD-4FAA-A8DE-0B75E80B9AC6}" dt="2025-04-30T09:20:25.799" v="3385" actId="108"/>
          <ac:spMkLst>
            <pc:docMk/>
            <pc:sldMk cId="3290183935" sldId="261"/>
            <ac:spMk id="115" creationId="{D59C18E1-D22D-3D09-6B0C-E427C460816E}"/>
          </ac:spMkLst>
        </pc:spChg>
        <pc:spChg chg="add mod">
          <ac:chgData name="Vikram Chandna" userId="d41689e5-46d3-462a-81dc-f998aa5c3923" providerId="ADAL" clId="{04CA8BB8-45FD-4FAA-A8DE-0B75E80B9AC6}" dt="2025-04-30T09:20:22.462" v="3384" actId="108"/>
          <ac:spMkLst>
            <pc:docMk/>
            <pc:sldMk cId="3290183935" sldId="261"/>
            <ac:spMk id="116" creationId="{3DC59F5F-0BA9-DA7C-19D0-A97650088C7F}"/>
          </ac:spMkLst>
        </pc:spChg>
        <pc:spChg chg="add mod">
          <ac:chgData name="Vikram Chandna" userId="d41689e5-46d3-462a-81dc-f998aa5c3923" providerId="ADAL" clId="{04CA8BB8-45FD-4FAA-A8DE-0B75E80B9AC6}" dt="2025-04-30T06:00:54.128" v="3195" actId="1036"/>
          <ac:spMkLst>
            <pc:docMk/>
            <pc:sldMk cId="3290183935" sldId="261"/>
            <ac:spMk id="117" creationId="{A780DB62-432F-6BB9-9A3F-5FC2CA4725B1}"/>
          </ac:spMkLst>
        </pc:spChg>
        <pc:spChg chg="add mod">
          <ac:chgData name="Vikram Chandna" userId="d41689e5-46d3-462a-81dc-f998aa5c3923" providerId="ADAL" clId="{04CA8BB8-45FD-4FAA-A8DE-0B75E80B9AC6}" dt="2025-04-30T05:53:48.649" v="3116" actId="14100"/>
          <ac:spMkLst>
            <pc:docMk/>
            <pc:sldMk cId="3290183935" sldId="261"/>
            <ac:spMk id="118" creationId="{633DC29A-CBB8-8121-4CBE-9F05A6FBE8D9}"/>
          </ac:spMkLst>
        </pc:spChg>
        <pc:spChg chg="mod">
          <ac:chgData name="Vikram Chandna" userId="d41689e5-46d3-462a-81dc-f998aa5c3923" providerId="ADAL" clId="{04CA8BB8-45FD-4FAA-A8DE-0B75E80B9AC6}" dt="2025-04-29T16:57:29.935" v="3094" actId="693"/>
          <ac:spMkLst>
            <pc:docMk/>
            <pc:sldMk cId="3290183935" sldId="261"/>
            <ac:spMk id="120" creationId="{77A4ACEB-8B3F-7469-DC36-1D4BF46C2700}"/>
          </ac:spMkLst>
        </pc:spChg>
        <pc:spChg chg="mod">
          <ac:chgData name="Vikram Chandna" userId="d41689e5-46d3-462a-81dc-f998aa5c3923" providerId="ADAL" clId="{04CA8BB8-45FD-4FAA-A8DE-0B75E80B9AC6}" dt="2025-04-29T16:57:29.935" v="3094" actId="693"/>
          <ac:spMkLst>
            <pc:docMk/>
            <pc:sldMk cId="3290183935" sldId="261"/>
            <ac:spMk id="121" creationId="{F992E0B9-FC93-BDC5-6FBA-65E1234C84CD}"/>
          </ac:spMkLst>
        </pc:spChg>
        <pc:spChg chg="mod">
          <ac:chgData name="Vikram Chandna" userId="d41689e5-46d3-462a-81dc-f998aa5c3923" providerId="ADAL" clId="{04CA8BB8-45FD-4FAA-A8DE-0B75E80B9AC6}" dt="2025-04-29T16:57:29.935" v="3094" actId="693"/>
          <ac:spMkLst>
            <pc:docMk/>
            <pc:sldMk cId="3290183935" sldId="261"/>
            <ac:spMk id="122" creationId="{48E4C453-E63F-FEAB-D2F2-A44780088818}"/>
          </ac:spMkLst>
        </pc:spChg>
        <pc:spChg chg="mod">
          <ac:chgData name="Vikram Chandna" userId="d41689e5-46d3-462a-81dc-f998aa5c3923" providerId="ADAL" clId="{04CA8BB8-45FD-4FAA-A8DE-0B75E80B9AC6}" dt="2025-04-29T16:57:29.935" v="3094" actId="693"/>
          <ac:spMkLst>
            <pc:docMk/>
            <pc:sldMk cId="3290183935" sldId="261"/>
            <ac:spMk id="123" creationId="{73ED142B-F720-DBD1-2DE0-DC0CF04D6B01}"/>
          </ac:spMkLst>
        </pc:spChg>
        <pc:spChg chg="mod">
          <ac:chgData name="Vikram Chandna" userId="d41689e5-46d3-462a-81dc-f998aa5c3923" providerId="ADAL" clId="{04CA8BB8-45FD-4FAA-A8DE-0B75E80B9AC6}" dt="2025-04-29T16:57:29.935" v="3094" actId="693"/>
          <ac:spMkLst>
            <pc:docMk/>
            <pc:sldMk cId="3290183935" sldId="261"/>
            <ac:spMk id="124" creationId="{73DA99FA-44F6-6554-7783-75A4A838F5CC}"/>
          </ac:spMkLst>
        </pc:spChg>
        <pc:spChg chg="add mod">
          <ac:chgData name="Vikram Chandna" userId="d41689e5-46d3-462a-81dc-f998aa5c3923" providerId="ADAL" clId="{04CA8BB8-45FD-4FAA-A8DE-0B75E80B9AC6}" dt="2025-04-30T06:22:54.580" v="3326" actId="1035"/>
          <ac:spMkLst>
            <pc:docMk/>
            <pc:sldMk cId="3290183935" sldId="261"/>
            <ac:spMk id="125" creationId="{761A5583-8FB8-DD94-196E-0A79314C9F57}"/>
          </ac:spMkLst>
        </pc:spChg>
        <pc:spChg chg="add mod">
          <ac:chgData name="Vikram Chandna" userId="d41689e5-46d3-462a-81dc-f998aa5c3923" providerId="ADAL" clId="{04CA8BB8-45FD-4FAA-A8DE-0B75E80B9AC6}" dt="2025-04-30T09:22:27.270" v="3391" actId="11"/>
          <ac:spMkLst>
            <pc:docMk/>
            <pc:sldMk cId="3290183935" sldId="261"/>
            <ac:spMk id="131" creationId="{AB4A98BF-7907-0849-C9C8-FB08A53A9A05}"/>
          </ac:spMkLst>
        </pc:spChg>
        <pc:spChg chg="add mod">
          <ac:chgData name="Vikram Chandna" userId="d41689e5-46d3-462a-81dc-f998aa5c3923" providerId="ADAL" clId="{04CA8BB8-45FD-4FAA-A8DE-0B75E80B9AC6}" dt="2025-04-29T12:04:42.291" v="2835" actId="554"/>
          <ac:spMkLst>
            <pc:docMk/>
            <pc:sldMk cId="3290183935" sldId="261"/>
            <ac:spMk id="141" creationId="{28334DC3-50F4-63D7-FA08-6792AE253479}"/>
          </ac:spMkLst>
        </pc:spChg>
        <pc:spChg chg="add mod">
          <ac:chgData name="Vikram Chandna" userId="d41689e5-46d3-462a-81dc-f998aa5c3923" providerId="ADAL" clId="{04CA8BB8-45FD-4FAA-A8DE-0B75E80B9AC6}" dt="2025-04-29T12:04:42.291" v="2835" actId="554"/>
          <ac:spMkLst>
            <pc:docMk/>
            <pc:sldMk cId="3290183935" sldId="261"/>
            <ac:spMk id="142" creationId="{D8A9EB76-0AE2-EE2A-4826-E2AD19D2B5C9}"/>
          </ac:spMkLst>
        </pc:spChg>
        <pc:spChg chg="add mod">
          <ac:chgData name="Vikram Chandna" userId="d41689e5-46d3-462a-81dc-f998aa5c3923" providerId="ADAL" clId="{04CA8BB8-45FD-4FAA-A8DE-0B75E80B9AC6}" dt="2025-04-30T05:53:48.649" v="3116" actId="14100"/>
          <ac:spMkLst>
            <pc:docMk/>
            <pc:sldMk cId="3290183935" sldId="261"/>
            <ac:spMk id="145" creationId="{A3D8583E-89A8-E010-BCF7-D559C15C9BA4}"/>
          </ac:spMkLst>
        </pc:spChg>
        <pc:spChg chg="add mod">
          <ac:chgData name="Vikram Chandna" userId="d41689e5-46d3-462a-81dc-f998aa5c3923" providerId="ADAL" clId="{04CA8BB8-45FD-4FAA-A8DE-0B75E80B9AC6}" dt="2025-04-30T06:27:05.443" v="3377" actId="1038"/>
          <ac:spMkLst>
            <pc:docMk/>
            <pc:sldMk cId="3290183935" sldId="261"/>
            <ac:spMk id="157" creationId="{B056A48D-E5BA-46EA-0F3A-4D7DE52056F0}"/>
          </ac:spMkLst>
        </pc:spChg>
        <pc:spChg chg="add mod">
          <ac:chgData name="Vikram Chandna" userId="d41689e5-46d3-462a-81dc-f998aa5c3923" providerId="ADAL" clId="{04CA8BB8-45FD-4FAA-A8DE-0B75E80B9AC6}" dt="2025-04-29T11:55:32.579" v="2758" actId="1076"/>
          <ac:spMkLst>
            <pc:docMk/>
            <pc:sldMk cId="3290183935" sldId="261"/>
            <ac:spMk id="158" creationId="{ABF32581-271A-1A8B-64CF-1880AC95E077}"/>
          </ac:spMkLst>
        </pc:spChg>
        <pc:spChg chg="add mod">
          <ac:chgData name="Vikram Chandna" userId="d41689e5-46d3-462a-81dc-f998aa5c3923" providerId="ADAL" clId="{04CA8BB8-45FD-4FAA-A8DE-0B75E80B9AC6}" dt="2025-04-29T11:55:32.579" v="2758" actId="1076"/>
          <ac:spMkLst>
            <pc:docMk/>
            <pc:sldMk cId="3290183935" sldId="261"/>
            <ac:spMk id="159" creationId="{C28075EC-3F4A-4FF3-352E-9000FAB796DA}"/>
          </ac:spMkLst>
        </pc:spChg>
        <pc:spChg chg="add mod">
          <ac:chgData name="Vikram Chandna" userId="d41689e5-46d3-462a-81dc-f998aa5c3923" providerId="ADAL" clId="{04CA8BB8-45FD-4FAA-A8DE-0B75E80B9AC6}" dt="2025-04-30T06:22:54.580" v="3326" actId="1035"/>
          <ac:spMkLst>
            <pc:docMk/>
            <pc:sldMk cId="3290183935" sldId="261"/>
            <ac:spMk id="161" creationId="{54414D4D-5218-1573-249C-6C6960DCE3E1}"/>
          </ac:spMkLst>
        </pc:spChg>
        <pc:spChg chg="add mod">
          <ac:chgData name="Vikram Chandna" userId="d41689e5-46d3-462a-81dc-f998aa5c3923" providerId="ADAL" clId="{04CA8BB8-45FD-4FAA-A8DE-0B75E80B9AC6}" dt="2025-04-30T05:54:07.329" v="3122" actId="1036"/>
          <ac:spMkLst>
            <pc:docMk/>
            <pc:sldMk cId="3290183935" sldId="261"/>
            <ac:spMk id="182" creationId="{7CF9A7CA-E222-137C-9086-5B9E85C670A7}"/>
          </ac:spMkLst>
        </pc:spChg>
        <pc:spChg chg="mod">
          <ac:chgData name="Vikram Chandna" userId="d41689e5-46d3-462a-81dc-f998aa5c3923" providerId="ADAL" clId="{04CA8BB8-45FD-4FAA-A8DE-0B75E80B9AC6}" dt="2025-04-29T11:51:29.539" v="2639" actId="1038"/>
          <ac:spMkLst>
            <pc:docMk/>
            <pc:sldMk cId="3290183935" sldId="261"/>
            <ac:spMk id="185" creationId="{FD9F60BE-A69B-0296-AA91-64B5486059E8}"/>
          </ac:spMkLst>
        </pc:spChg>
        <pc:spChg chg="mod">
          <ac:chgData name="Vikram Chandna" userId="d41689e5-46d3-462a-81dc-f998aa5c3923" providerId="ADAL" clId="{04CA8BB8-45FD-4FAA-A8DE-0B75E80B9AC6}" dt="2025-04-29T11:41:51.039" v="2471" actId="207"/>
          <ac:spMkLst>
            <pc:docMk/>
            <pc:sldMk cId="3290183935" sldId="261"/>
            <ac:spMk id="186" creationId="{9904CAC2-C1B3-536A-0BBF-7646ABFC1E9B}"/>
          </ac:spMkLst>
        </pc:spChg>
        <pc:spChg chg="mod">
          <ac:chgData name="Vikram Chandna" userId="d41689e5-46d3-462a-81dc-f998aa5c3923" providerId="ADAL" clId="{04CA8BB8-45FD-4FAA-A8DE-0B75E80B9AC6}" dt="2025-04-29T11:41:51.039" v="2471" actId="207"/>
          <ac:spMkLst>
            <pc:docMk/>
            <pc:sldMk cId="3290183935" sldId="261"/>
            <ac:spMk id="187" creationId="{33BC8CD1-674B-3A63-9910-27C9939496A7}"/>
          </ac:spMkLst>
        </pc:spChg>
        <pc:spChg chg="add mod">
          <ac:chgData name="Vikram Chandna" userId="d41689e5-46d3-462a-81dc-f998aa5c3923" providerId="ADAL" clId="{04CA8BB8-45FD-4FAA-A8DE-0B75E80B9AC6}" dt="2025-04-29T11:51:29.539" v="2639" actId="1038"/>
          <ac:spMkLst>
            <pc:docMk/>
            <pc:sldMk cId="3290183935" sldId="261"/>
            <ac:spMk id="192" creationId="{D28B48D3-07C4-FDB1-C7F0-E1E7094FE800}"/>
          </ac:spMkLst>
        </pc:spChg>
        <pc:spChg chg="add mod">
          <ac:chgData name="Vikram Chandna" userId="d41689e5-46d3-462a-81dc-f998aa5c3923" providerId="ADAL" clId="{04CA8BB8-45FD-4FAA-A8DE-0B75E80B9AC6}" dt="2025-04-29T11:51:29.539" v="2639" actId="1038"/>
          <ac:spMkLst>
            <pc:docMk/>
            <pc:sldMk cId="3290183935" sldId="261"/>
            <ac:spMk id="193" creationId="{68826259-BB31-D258-459C-3E56667C8E25}"/>
          </ac:spMkLst>
        </pc:spChg>
        <pc:spChg chg="add mod">
          <ac:chgData name="Vikram Chandna" userId="d41689e5-46d3-462a-81dc-f998aa5c3923" providerId="ADAL" clId="{04CA8BB8-45FD-4FAA-A8DE-0B75E80B9AC6}" dt="2025-04-30T05:54:07.329" v="3122" actId="1036"/>
          <ac:spMkLst>
            <pc:docMk/>
            <pc:sldMk cId="3290183935" sldId="261"/>
            <ac:spMk id="197" creationId="{DFCD6642-0365-A6C0-B81A-F03896568DA5}"/>
          </ac:spMkLst>
        </pc:spChg>
        <pc:grpChg chg="add mod">
          <ac:chgData name="Vikram Chandna" userId="d41689e5-46d3-462a-81dc-f998aa5c3923" providerId="ADAL" clId="{04CA8BB8-45FD-4FAA-A8DE-0B75E80B9AC6}" dt="2025-04-30T06:12:56.848" v="3263" actId="1035"/>
          <ac:grpSpMkLst>
            <pc:docMk/>
            <pc:sldMk cId="3290183935" sldId="261"/>
            <ac:grpSpMk id="31" creationId="{C4187B12-9526-9876-384D-E93E950F84AA}"/>
          </ac:grpSpMkLst>
        </pc:grpChg>
        <pc:grpChg chg="add mod">
          <ac:chgData name="Vikram Chandna" userId="d41689e5-46d3-462a-81dc-f998aa5c3923" providerId="ADAL" clId="{04CA8BB8-45FD-4FAA-A8DE-0B75E80B9AC6}" dt="2025-04-29T11:19:19.554" v="1754" actId="1076"/>
          <ac:grpSpMkLst>
            <pc:docMk/>
            <pc:sldMk cId="3290183935" sldId="261"/>
            <ac:grpSpMk id="102" creationId="{B9394140-5A2F-5E9F-38E1-2E9C5BA2C22C}"/>
          </ac:grpSpMkLst>
        </pc:grpChg>
        <pc:grpChg chg="add mod">
          <ac:chgData name="Vikram Chandna" userId="d41689e5-46d3-462a-81dc-f998aa5c3923" providerId="ADAL" clId="{04CA8BB8-45FD-4FAA-A8DE-0B75E80B9AC6}" dt="2025-04-30T06:22:54.580" v="3326" actId="1035"/>
          <ac:grpSpMkLst>
            <pc:docMk/>
            <pc:sldMk cId="3290183935" sldId="261"/>
            <ac:grpSpMk id="119" creationId="{1055C934-3937-7731-1561-91B15A31A4B7}"/>
          </ac:grpSpMkLst>
        </pc:grpChg>
        <pc:grpChg chg="add mod">
          <ac:chgData name="Vikram Chandna" userId="d41689e5-46d3-462a-81dc-f998aa5c3923" providerId="ADAL" clId="{04CA8BB8-45FD-4FAA-A8DE-0B75E80B9AC6}" dt="2025-04-29T11:42:03.201" v="2472" actId="1076"/>
          <ac:grpSpMkLst>
            <pc:docMk/>
            <pc:sldMk cId="3290183935" sldId="261"/>
            <ac:grpSpMk id="184" creationId="{9D62D14E-ABAB-E267-759C-6C93ABD51283}"/>
          </ac:grpSpMkLst>
        </pc:grpChg>
        <pc:picChg chg="add mod">
          <ac:chgData name="Vikram Chandna" userId="d41689e5-46d3-462a-81dc-f998aa5c3923" providerId="ADAL" clId="{04CA8BB8-45FD-4FAA-A8DE-0B75E80B9AC6}" dt="2025-04-29T16:54:20.044" v="3048" actId="693"/>
          <ac:picMkLst>
            <pc:docMk/>
            <pc:sldMk cId="3290183935" sldId="261"/>
            <ac:picMk id="17" creationId="{ECC18BC9-3234-CB63-D99C-46C07E9C2DD4}"/>
          </ac:picMkLst>
        </pc:picChg>
        <pc:picChg chg="add mod">
          <ac:chgData name="Vikram Chandna" userId="d41689e5-46d3-462a-81dc-f998aa5c3923" providerId="ADAL" clId="{04CA8BB8-45FD-4FAA-A8DE-0B75E80B9AC6}" dt="2025-04-29T16:45:37.328" v="2901" actId="1076"/>
          <ac:picMkLst>
            <pc:docMk/>
            <pc:sldMk cId="3290183935" sldId="261"/>
            <ac:picMk id="18" creationId="{17A3FE4B-7065-872C-47B3-2F2A893668B6}"/>
          </ac:picMkLst>
        </pc:picChg>
        <pc:picChg chg="add mod">
          <ac:chgData name="Vikram Chandna" userId="d41689e5-46d3-462a-81dc-f998aa5c3923" providerId="ADAL" clId="{04CA8BB8-45FD-4FAA-A8DE-0B75E80B9AC6}" dt="2025-04-29T16:45:47.129" v="2903" actId="1076"/>
          <ac:picMkLst>
            <pc:docMk/>
            <pc:sldMk cId="3290183935" sldId="261"/>
            <ac:picMk id="20" creationId="{A62E18BA-3090-86BC-2C99-A781D9C415BA}"/>
          </ac:picMkLst>
        </pc:picChg>
        <pc:picChg chg="add mod">
          <ac:chgData name="Vikram Chandna" userId="d41689e5-46d3-462a-81dc-f998aa5c3923" providerId="ADAL" clId="{04CA8BB8-45FD-4FAA-A8DE-0B75E80B9AC6}" dt="2025-04-29T16:45:55.169" v="2905" actId="1076"/>
          <ac:picMkLst>
            <pc:docMk/>
            <pc:sldMk cId="3290183935" sldId="261"/>
            <ac:picMk id="22" creationId="{05BCAEC0-B455-05F6-C609-134DBC7A5005}"/>
          </ac:picMkLst>
        </pc:picChg>
        <pc:picChg chg="add mod">
          <ac:chgData name="Vikram Chandna" userId="d41689e5-46d3-462a-81dc-f998aa5c3923" providerId="ADAL" clId="{04CA8BB8-45FD-4FAA-A8DE-0B75E80B9AC6}" dt="2025-04-29T16:46:10.478" v="2909" actId="1076"/>
          <ac:picMkLst>
            <pc:docMk/>
            <pc:sldMk cId="3290183935" sldId="261"/>
            <ac:picMk id="23" creationId="{92782EAA-F32C-28FF-32CE-883B5C9E855F}"/>
          </ac:picMkLst>
        </pc:picChg>
        <pc:picChg chg="add mod">
          <ac:chgData name="Vikram Chandna" userId="d41689e5-46d3-462a-81dc-f998aa5c3923" providerId="ADAL" clId="{04CA8BB8-45FD-4FAA-A8DE-0B75E80B9AC6}" dt="2025-04-29T16:46:17.159" v="2911" actId="1076"/>
          <ac:picMkLst>
            <pc:docMk/>
            <pc:sldMk cId="3290183935" sldId="261"/>
            <ac:picMk id="25" creationId="{549E69E4-ADE2-14D0-1407-4B96B5024D92}"/>
          </ac:picMkLst>
        </pc:picChg>
        <pc:picChg chg="add mod">
          <ac:chgData name="Vikram Chandna" userId="d41689e5-46d3-462a-81dc-f998aa5c3923" providerId="ADAL" clId="{04CA8BB8-45FD-4FAA-A8DE-0B75E80B9AC6}" dt="2025-04-29T11:55:43.950" v="2759" actId="1076"/>
          <ac:picMkLst>
            <pc:docMk/>
            <pc:sldMk cId="3290183935" sldId="261"/>
            <ac:picMk id="150" creationId="{A0DB9B1C-E751-7232-D289-3D387C78E976}"/>
          </ac:picMkLst>
        </pc:picChg>
        <pc:picChg chg="add mod">
          <ac:chgData name="Vikram Chandna" userId="d41689e5-46d3-462a-81dc-f998aa5c3923" providerId="ADAL" clId="{04CA8BB8-45FD-4FAA-A8DE-0B75E80B9AC6}" dt="2025-04-29T11:55:55.799" v="2777" actId="1037"/>
          <ac:picMkLst>
            <pc:docMk/>
            <pc:sldMk cId="3290183935" sldId="261"/>
            <ac:picMk id="151" creationId="{8DACC3B8-DBD7-BCC1-EFF8-490B749529A1}"/>
          </ac:picMkLst>
        </pc:picChg>
        <pc:picChg chg="add mod">
          <ac:chgData name="Vikram Chandna" userId="d41689e5-46d3-462a-81dc-f998aa5c3923" providerId="ADAL" clId="{04CA8BB8-45FD-4FAA-A8DE-0B75E80B9AC6}" dt="2025-04-29T11:56:00.303" v="2783" actId="1035"/>
          <ac:picMkLst>
            <pc:docMk/>
            <pc:sldMk cId="3290183935" sldId="261"/>
            <ac:picMk id="152" creationId="{4F3E831E-D09F-70B7-7E9F-76A8B8446011}"/>
          </ac:picMkLst>
        </pc:picChg>
        <pc:picChg chg="add mod">
          <ac:chgData name="Vikram Chandna" userId="d41689e5-46d3-462a-81dc-f998aa5c3923" providerId="ADAL" clId="{04CA8BB8-45FD-4FAA-A8DE-0B75E80B9AC6}" dt="2025-04-29T11:55:49.651" v="2764" actId="1038"/>
          <ac:picMkLst>
            <pc:docMk/>
            <pc:sldMk cId="3290183935" sldId="261"/>
            <ac:picMk id="153" creationId="{AC12C343-306D-A6D4-D8EB-2FC95EE32533}"/>
          </ac:picMkLst>
        </pc:picChg>
        <pc:picChg chg="add mod">
          <ac:chgData name="Vikram Chandna" userId="d41689e5-46d3-462a-81dc-f998aa5c3923" providerId="ADAL" clId="{04CA8BB8-45FD-4FAA-A8DE-0B75E80B9AC6}" dt="2025-04-29T11:56:00.303" v="2783" actId="1035"/>
          <ac:picMkLst>
            <pc:docMk/>
            <pc:sldMk cId="3290183935" sldId="261"/>
            <ac:picMk id="154" creationId="{A99CFE4D-86BF-18FC-6392-EFB90F0D25FC}"/>
          </ac:picMkLst>
        </pc:picChg>
        <pc:picChg chg="add mod">
          <ac:chgData name="Vikram Chandna" userId="d41689e5-46d3-462a-81dc-f998aa5c3923" providerId="ADAL" clId="{04CA8BB8-45FD-4FAA-A8DE-0B75E80B9AC6}" dt="2025-04-30T10:29:52.388" v="3414" actId="1076"/>
          <ac:picMkLst>
            <pc:docMk/>
            <pc:sldMk cId="3290183935" sldId="261"/>
            <ac:picMk id="1026" creationId="{0DF716F3-D139-DE2F-E7CA-6E0344ABD552}"/>
          </ac:picMkLst>
        </pc:picChg>
        <pc:cxnChg chg="add mod">
          <ac:chgData name="Vikram Chandna" userId="d41689e5-46d3-462a-81dc-f998aa5c3923" providerId="ADAL" clId="{04CA8BB8-45FD-4FAA-A8DE-0B75E80B9AC6}" dt="2025-04-29T11:15:03.127" v="1648" actId="12789"/>
          <ac:cxnSpMkLst>
            <pc:docMk/>
            <pc:sldMk cId="3290183935" sldId="261"/>
            <ac:cxnSpMk id="13" creationId="{C06D21E9-3040-4605-DC25-07F7F43C4BAD}"/>
          </ac:cxnSpMkLst>
        </pc:cxnChg>
        <pc:cxnChg chg="add mod">
          <ac:chgData name="Vikram Chandna" userId="d41689e5-46d3-462a-81dc-f998aa5c3923" providerId="ADAL" clId="{04CA8BB8-45FD-4FAA-A8DE-0B75E80B9AC6}" dt="2025-04-29T11:15:03.127" v="1648" actId="12789"/>
          <ac:cxnSpMkLst>
            <pc:docMk/>
            <pc:sldMk cId="3290183935" sldId="261"/>
            <ac:cxnSpMk id="15" creationId="{B18B071C-2C04-92AB-061C-8F9ABAED72D7}"/>
          </ac:cxnSpMkLst>
        </pc:cxnChg>
        <pc:cxnChg chg="add mod">
          <ac:chgData name="Vikram Chandna" userId="d41689e5-46d3-462a-81dc-f998aa5c3923" providerId="ADAL" clId="{04CA8BB8-45FD-4FAA-A8DE-0B75E80B9AC6}" dt="2025-04-30T06:27:05.443" v="3377" actId="1038"/>
          <ac:cxnSpMkLst>
            <pc:docMk/>
            <pc:sldMk cId="3290183935" sldId="261"/>
            <ac:cxnSpMk id="16" creationId="{A3F2BA98-48C0-AD50-0E04-F63013049C6F}"/>
          </ac:cxnSpMkLst>
        </pc:cxnChg>
        <pc:cxnChg chg="add mod">
          <ac:chgData name="Vikram Chandna" userId="d41689e5-46d3-462a-81dc-f998aa5c3923" providerId="ADAL" clId="{04CA8BB8-45FD-4FAA-A8DE-0B75E80B9AC6}" dt="2025-04-29T16:56:35.333" v="3092" actId="208"/>
          <ac:cxnSpMkLst>
            <pc:docMk/>
            <pc:sldMk cId="3290183935" sldId="261"/>
            <ac:cxnSpMk id="19" creationId="{0D2265CE-0422-0506-77EB-2DE7AB771DA3}"/>
          </ac:cxnSpMkLst>
        </pc:cxnChg>
        <pc:cxnChg chg="add mod">
          <ac:chgData name="Vikram Chandna" userId="d41689e5-46d3-462a-81dc-f998aa5c3923" providerId="ADAL" clId="{04CA8BB8-45FD-4FAA-A8DE-0B75E80B9AC6}" dt="2025-04-29T16:52:15.955" v="3016" actId="1036"/>
          <ac:cxnSpMkLst>
            <pc:docMk/>
            <pc:sldMk cId="3290183935" sldId="261"/>
            <ac:cxnSpMk id="21" creationId="{85C9DAFF-C8FF-2A65-43DB-6623D38509C7}"/>
          </ac:cxnSpMkLst>
        </pc:cxnChg>
        <pc:cxnChg chg="add mod">
          <ac:chgData name="Vikram Chandna" userId="d41689e5-46d3-462a-81dc-f998aa5c3923" providerId="ADAL" clId="{04CA8BB8-45FD-4FAA-A8DE-0B75E80B9AC6}" dt="2025-04-29T16:52:15.955" v="3016" actId="1036"/>
          <ac:cxnSpMkLst>
            <pc:docMk/>
            <pc:sldMk cId="3290183935" sldId="261"/>
            <ac:cxnSpMk id="24" creationId="{E57D7F63-E0F8-E19A-DC9C-A6A25B0D49DD}"/>
          </ac:cxnSpMkLst>
        </pc:cxnChg>
        <pc:cxnChg chg="add mod">
          <ac:chgData name="Vikram Chandna" userId="d41689e5-46d3-462a-81dc-f998aa5c3923" providerId="ADAL" clId="{04CA8BB8-45FD-4FAA-A8DE-0B75E80B9AC6}" dt="2025-04-29T16:52:15.955" v="3016" actId="1036"/>
          <ac:cxnSpMkLst>
            <pc:docMk/>
            <pc:sldMk cId="3290183935" sldId="261"/>
            <ac:cxnSpMk id="27" creationId="{141448DB-C0E1-8021-C4D3-4C5EB3152DF0}"/>
          </ac:cxnSpMkLst>
        </pc:cxnChg>
        <pc:cxnChg chg="add mod">
          <ac:chgData name="Vikram Chandna" userId="d41689e5-46d3-462a-81dc-f998aa5c3923" providerId="ADAL" clId="{04CA8BB8-45FD-4FAA-A8DE-0B75E80B9AC6}" dt="2025-04-30T06:12:56.848" v="3263" actId="1035"/>
          <ac:cxnSpMkLst>
            <pc:docMk/>
            <pc:sldMk cId="3290183935" sldId="261"/>
            <ac:cxnSpMk id="43" creationId="{A08F1EC2-D730-0886-D416-83077285C076}"/>
          </ac:cxnSpMkLst>
        </pc:cxnChg>
        <pc:cxnChg chg="add mod">
          <ac:chgData name="Vikram Chandna" userId="d41689e5-46d3-462a-81dc-f998aa5c3923" providerId="ADAL" clId="{04CA8BB8-45FD-4FAA-A8DE-0B75E80B9AC6}" dt="2025-04-29T10:51:30.757" v="1275" actId="1582"/>
          <ac:cxnSpMkLst>
            <pc:docMk/>
            <pc:sldMk cId="3290183935" sldId="261"/>
            <ac:cxnSpMk id="46" creationId="{E6ED94AC-DA8C-FD26-066A-EC243A773A8E}"/>
          </ac:cxnSpMkLst>
        </pc:cxnChg>
        <pc:cxnChg chg="add mod">
          <ac:chgData name="Vikram Chandna" userId="d41689e5-46d3-462a-81dc-f998aa5c3923" providerId="ADAL" clId="{04CA8BB8-45FD-4FAA-A8DE-0B75E80B9AC6}" dt="2025-04-29T16:51:11.449" v="2994" actId="14100"/>
          <ac:cxnSpMkLst>
            <pc:docMk/>
            <pc:sldMk cId="3290183935" sldId="261"/>
            <ac:cxnSpMk id="51" creationId="{79A4E8FF-7FFB-DD58-7496-B37E303C099D}"/>
          </ac:cxnSpMkLst>
        </pc:cxnChg>
        <pc:cxnChg chg="add mod">
          <ac:chgData name="Vikram Chandna" userId="d41689e5-46d3-462a-81dc-f998aa5c3923" providerId="ADAL" clId="{04CA8BB8-45FD-4FAA-A8DE-0B75E80B9AC6}" dt="2025-04-29T16:52:15.955" v="3016" actId="1036"/>
          <ac:cxnSpMkLst>
            <pc:docMk/>
            <pc:sldMk cId="3290183935" sldId="261"/>
            <ac:cxnSpMk id="88" creationId="{0AE1CA25-8F85-60CF-C8C0-14A27A303B83}"/>
          </ac:cxnSpMkLst>
        </pc:cxnChg>
        <pc:cxnChg chg="add mod">
          <ac:chgData name="Vikram Chandna" userId="d41689e5-46d3-462a-81dc-f998aa5c3923" providerId="ADAL" clId="{04CA8BB8-45FD-4FAA-A8DE-0B75E80B9AC6}" dt="2025-04-29T16:52:15.955" v="3016" actId="1036"/>
          <ac:cxnSpMkLst>
            <pc:docMk/>
            <pc:sldMk cId="3290183935" sldId="261"/>
            <ac:cxnSpMk id="92" creationId="{B8E2EC4F-476A-E6C9-CB8C-DC798CDCD3E4}"/>
          </ac:cxnSpMkLst>
        </pc:cxnChg>
        <pc:cxnChg chg="add mod">
          <ac:chgData name="Vikram Chandna" userId="d41689e5-46d3-462a-81dc-f998aa5c3923" providerId="ADAL" clId="{04CA8BB8-45FD-4FAA-A8DE-0B75E80B9AC6}" dt="2025-04-29T11:15:29.371" v="1656" actId="14100"/>
          <ac:cxnSpMkLst>
            <pc:docMk/>
            <pc:sldMk cId="3290183935" sldId="261"/>
            <ac:cxnSpMk id="95" creationId="{4D00F707-F334-4E20-DD86-859E962F5D4D}"/>
          </ac:cxnSpMkLst>
        </pc:cxnChg>
        <pc:cxnChg chg="add mod">
          <ac:chgData name="Vikram Chandna" userId="d41689e5-46d3-462a-81dc-f998aa5c3923" providerId="ADAL" clId="{04CA8BB8-45FD-4FAA-A8DE-0B75E80B9AC6}" dt="2025-04-29T11:15:34.540" v="1659" actId="14100"/>
          <ac:cxnSpMkLst>
            <pc:docMk/>
            <pc:sldMk cId="3290183935" sldId="261"/>
            <ac:cxnSpMk id="98" creationId="{F534FC96-FD97-CEAB-A0C0-43A53A62E9CC}"/>
          </ac:cxnSpMkLst>
        </pc:cxnChg>
        <pc:cxnChg chg="add mod">
          <ac:chgData name="Vikram Chandna" userId="d41689e5-46d3-462a-81dc-f998aa5c3923" providerId="ADAL" clId="{04CA8BB8-45FD-4FAA-A8DE-0B75E80B9AC6}" dt="2025-04-30T06:22:57.795" v="3327" actId="14100"/>
          <ac:cxnSpMkLst>
            <pc:docMk/>
            <pc:sldMk cId="3290183935" sldId="261"/>
            <ac:cxnSpMk id="127" creationId="{D0F42D99-9CAE-0DBE-35E3-A3CD80D42B35}"/>
          </ac:cxnSpMkLst>
        </pc:cxnChg>
        <pc:cxnChg chg="add mod">
          <ac:chgData name="Vikram Chandna" userId="d41689e5-46d3-462a-81dc-f998aa5c3923" providerId="ADAL" clId="{04CA8BB8-45FD-4FAA-A8DE-0B75E80B9AC6}" dt="2025-04-29T16:56:25.598" v="3090" actId="208"/>
          <ac:cxnSpMkLst>
            <pc:docMk/>
            <pc:sldMk cId="3290183935" sldId="261"/>
            <ac:cxnSpMk id="188" creationId="{448C2C8E-9855-A1E8-FB8D-1C36AC6EF109}"/>
          </ac:cxnSpMkLst>
        </pc:cxnChg>
      </pc:sldChg>
      <pc:sldChg chg="del">
        <pc:chgData name="Vikram Chandna" userId="d41689e5-46d3-462a-81dc-f998aa5c3923" providerId="ADAL" clId="{04CA8BB8-45FD-4FAA-A8DE-0B75E80B9AC6}" dt="2025-04-08T06:04:39.566" v="7" actId="47"/>
        <pc:sldMkLst>
          <pc:docMk/>
          <pc:sldMk cId="2091183699" sldId="262"/>
        </pc:sldMkLst>
      </pc:sldChg>
      <pc:sldChg chg="del">
        <pc:chgData name="Vikram Chandna" userId="d41689e5-46d3-462a-81dc-f998aa5c3923" providerId="ADAL" clId="{04CA8BB8-45FD-4FAA-A8DE-0B75E80B9AC6}" dt="2025-04-08T06:04:38.785" v="6" actId="47"/>
        <pc:sldMkLst>
          <pc:docMk/>
          <pc:sldMk cId="3924828565" sldId="263"/>
        </pc:sldMkLst>
      </pc:sldChg>
      <pc:sldChg chg="del">
        <pc:chgData name="Vikram Chandna" userId="d41689e5-46d3-462a-81dc-f998aa5c3923" providerId="ADAL" clId="{04CA8BB8-45FD-4FAA-A8DE-0B75E80B9AC6}" dt="2025-04-08T06:04:44.298" v="10" actId="47"/>
        <pc:sldMkLst>
          <pc:docMk/>
          <pc:sldMk cId="2637693643" sldId="264"/>
        </pc:sldMkLst>
      </pc:sldChg>
      <pc:sldChg chg="del">
        <pc:chgData name="Vikram Chandna" userId="d41689e5-46d3-462a-81dc-f998aa5c3923" providerId="ADAL" clId="{04CA8BB8-45FD-4FAA-A8DE-0B75E80B9AC6}" dt="2025-04-08T06:04:35.211" v="0" actId="47"/>
        <pc:sldMkLst>
          <pc:docMk/>
          <pc:sldMk cId="2110495549" sldId="2147480479"/>
        </pc:sldMkLst>
      </pc:sldChg>
      <pc:sldChg chg="del">
        <pc:chgData name="Vikram Chandna" userId="d41689e5-46d3-462a-81dc-f998aa5c3923" providerId="ADAL" clId="{04CA8BB8-45FD-4FAA-A8DE-0B75E80B9AC6}" dt="2025-04-08T06:04:36.620" v="3" actId="47"/>
        <pc:sldMkLst>
          <pc:docMk/>
          <pc:sldMk cId="350365825" sldId="2147483621"/>
        </pc:sldMkLst>
      </pc:sldChg>
      <pc:sldChg chg="del">
        <pc:chgData name="Vikram Chandna" userId="d41689e5-46d3-462a-81dc-f998aa5c3923" providerId="ADAL" clId="{04CA8BB8-45FD-4FAA-A8DE-0B75E80B9AC6}" dt="2025-04-08T06:04:35.721" v="1" actId="47"/>
        <pc:sldMkLst>
          <pc:docMk/>
          <pc:sldMk cId="4159413104" sldId="2147483643"/>
        </pc:sldMkLst>
      </pc:sldChg>
      <pc:sldChg chg="del">
        <pc:chgData name="Vikram Chandna" userId="d41689e5-46d3-462a-81dc-f998aa5c3923" providerId="ADAL" clId="{04CA8BB8-45FD-4FAA-A8DE-0B75E80B9AC6}" dt="2025-04-08T06:04:37.329" v="4" actId="47"/>
        <pc:sldMkLst>
          <pc:docMk/>
          <pc:sldMk cId="3395454999" sldId="2147483647"/>
        </pc:sldMkLst>
      </pc:sldChg>
    </pc:docChg>
  </pc:docChgLst>
  <pc:docChgLst>
    <pc:chgData name="Vikram Chandna" userId="d41689e5-46d3-462a-81dc-f998aa5c3923" providerId="ADAL" clId="{B2477419-83B8-441C-A930-2B68F2CFCF72}"/>
    <pc:docChg chg="undo redo custSel delSld modSld sldOrd">
      <pc:chgData name="Vikram Chandna" userId="d41689e5-46d3-462a-81dc-f998aa5c3923" providerId="ADAL" clId="{B2477419-83B8-441C-A930-2B68F2CFCF72}" dt="2025-04-04T11:18:25.144" v="1030" actId="20577"/>
      <pc:docMkLst>
        <pc:docMk/>
      </pc:docMkLst>
      <pc:sldChg chg="del">
        <pc:chgData name="Vikram Chandna" userId="d41689e5-46d3-462a-81dc-f998aa5c3923" providerId="ADAL" clId="{B2477419-83B8-441C-A930-2B68F2CFCF72}" dt="2025-04-04T11:12:09.944" v="982" actId="47"/>
        <pc:sldMkLst>
          <pc:docMk/>
          <pc:sldMk cId="3932686254" sldId="256"/>
        </pc:sldMkLst>
      </pc:sldChg>
      <pc:sldChg chg="modSp mod modTransition">
        <pc:chgData name="Vikram Chandna" userId="d41689e5-46d3-462a-81dc-f998aa5c3923" providerId="ADAL" clId="{B2477419-83B8-441C-A930-2B68F2CFCF72}" dt="2025-04-04T11:09:29.148" v="958"/>
        <pc:sldMkLst>
          <pc:docMk/>
          <pc:sldMk cId="3673749504" sldId="257"/>
        </pc:sldMkLst>
      </pc:sldChg>
      <pc:sldChg chg="addSp modSp mod">
        <pc:chgData name="Vikram Chandna" userId="d41689e5-46d3-462a-81dc-f998aa5c3923" providerId="ADAL" clId="{B2477419-83B8-441C-A930-2B68F2CFCF72}" dt="2025-04-04T11:17:36.610" v="1028" actId="1076"/>
        <pc:sldMkLst>
          <pc:docMk/>
          <pc:sldMk cId="2009377035" sldId="258"/>
        </pc:sldMkLst>
      </pc:sldChg>
      <pc:sldChg chg="addSp delSp modSp mod ord">
        <pc:chgData name="Vikram Chandna" userId="d41689e5-46d3-462a-81dc-f998aa5c3923" providerId="ADAL" clId="{B2477419-83B8-441C-A930-2B68F2CFCF72}" dt="2025-04-04T11:18:25.144" v="1030" actId="20577"/>
        <pc:sldMkLst>
          <pc:docMk/>
          <pc:sldMk cId="4279016040" sldId="259"/>
        </pc:sldMkLst>
      </pc:sldChg>
      <pc:sldChg chg="addSp delSp modSp mod modTransition">
        <pc:chgData name="Vikram Chandna" userId="d41689e5-46d3-462a-81dc-f998aa5c3923" providerId="ADAL" clId="{B2477419-83B8-441C-A930-2B68F2CFCF72}" dt="2025-04-04T11:09:26.973" v="957"/>
        <pc:sldMkLst>
          <pc:docMk/>
          <pc:sldMk cId="2527071715" sldId="260"/>
        </pc:sldMkLst>
      </pc:sldChg>
      <pc:sldChg chg="addSp modSp mod ord">
        <pc:chgData name="Vikram Chandna" userId="d41689e5-46d3-462a-81dc-f998aa5c3923" providerId="ADAL" clId="{B2477419-83B8-441C-A930-2B68F2CFCF72}" dt="2025-04-04T11:13:11.342" v="1005" actId="1076"/>
        <pc:sldMkLst>
          <pc:docMk/>
          <pc:sldMk cId="3913723818" sldId="267"/>
        </pc:sldMkLst>
      </pc:sldChg>
      <pc:sldChg chg="del">
        <pc:chgData name="Vikram Chandna" userId="d41689e5-46d3-462a-81dc-f998aa5c3923" providerId="ADAL" clId="{B2477419-83B8-441C-A930-2B68F2CFCF72}" dt="2025-04-04T11:12:12.156" v="983" actId="47"/>
        <pc:sldMkLst>
          <pc:docMk/>
          <pc:sldMk cId="3785921512" sldId="2147483620"/>
        </pc:sldMkLst>
      </pc:sldChg>
      <pc:sldChg chg="delSp modSp mod ord">
        <pc:chgData name="Vikram Chandna" userId="d41689e5-46d3-462a-81dc-f998aa5c3923" providerId="ADAL" clId="{B2477419-83B8-441C-A930-2B68F2CFCF72}" dt="2025-04-04T11:03:16.116" v="716" actId="948"/>
        <pc:sldMkLst>
          <pc:docMk/>
          <pc:sldMk cId="350365825" sldId="2147483621"/>
        </pc:sldMkLst>
      </pc:sldChg>
      <pc:sldChg chg="modSp mod">
        <pc:chgData name="Vikram Chandna" userId="d41689e5-46d3-462a-81dc-f998aa5c3923" providerId="ADAL" clId="{B2477419-83B8-441C-A930-2B68F2CFCF72}" dt="2025-04-04T11:03:04.666" v="715" actId="20577"/>
        <pc:sldMkLst>
          <pc:docMk/>
          <pc:sldMk cId="4159413104" sldId="2147483643"/>
        </pc:sldMkLst>
      </pc:sldChg>
      <pc:sldChg chg="modSp mod ord">
        <pc:chgData name="Vikram Chandna" userId="d41689e5-46d3-462a-81dc-f998aa5c3923" providerId="ADAL" clId="{B2477419-83B8-441C-A930-2B68F2CFCF72}" dt="2025-04-04T11:07:49.521" v="849"/>
        <pc:sldMkLst>
          <pc:docMk/>
          <pc:sldMk cId="3527986929" sldId="2147483647"/>
        </pc:sldMkLst>
      </pc:sldChg>
    </pc:docChg>
  </pc:docChgLst>
  <pc:docChgLst>
    <pc:chgData name="Vikram Chandna" userId="d41689e5-46d3-462a-81dc-f998aa5c3923" providerId="ADAL" clId="{C85EC289-28F0-4954-9B50-0E1FACBF1430}"/>
    <pc:docChg chg="undo custSel addSld delSld modSld sldOrd">
      <pc:chgData name="Vikram Chandna" userId="d41689e5-46d3-462a-81dc-f998aa5c3923" providerId="ADAL" clId="{C85EC289-28F0-4954-9B50-0E1FACBF1430}" dt="2025-04-07T05:59:58.955" v="3017" actId="207"/>
      <pc:docMkLst>
        <pc:docMk/>
      </pc:docMkLst>
      <pc:sldChg chg="addSp modSp add del mod">
        <pc:chgData name="Vikram Chandna" userId="d41689e5-46d3-462a-81dc-f998aa5c3923" providerId="ADAL" clId="{C85EC289-28F0-4954-9B50-0E1FACBF1430}" dt="2025-04-04T13:09:22.187" v="433" actId="47"/>
        <pc:sldMkLst>
          <pc:docMk/>
          <pc:sldMk cId="132892607" sldId="256"/>
        </pc:sldMkLst>
      </pc:sldChg>
      <pc:sldChg chg="addSp delSp modSp new mod">
        <pc:chgData name="Vikram Chandna" userId="d41689e5-46d3-462a-81dc-f998aa5c3923" providerId="ADAL" clId="{C85EC289-28F0-4954-9B50-0E1FACBF1430}" dt="2025-04-05T11:43:12.078" v="2873" actId="478"/>
        <pc:sldMkLst>
          <pc:docMk/>
          <pc:sldMk cId="3109387066" sldId="256"/>
        </pc:sldMkLst>
      </pc:sldChg>
      <pc:sldChg chg="modSp mod">
        <pc:chgData name="Vikram Chandna" userId="d41689e5-46d3-462a-81dc-f998aa5c3923" providerId="ADAL" clId="{C85EC289-28F0-4954-9B50-0E1FACBF1430}" dt="2025-04-05T08:30:47.009" v="2870" actId="207"/>
        <pc:sldMkLst>
          <pc:docMk/>
          <pc:sldMk cId="3673749504" sldId="257"/>
        </pc:sldMkLst>
      </pc:sldChg>
      <pc:sldChg chg="modSp mod">
        <pc:chgData name="Vikram Chandna" userId="d41689e5-46d3-462a-81dc-f998aa5c3923" providerId="ADAL" clId="{C85EC289-28F0-4954-9B50-0E1FACBF1430}" dt="2025-04-05T08:30:16.224" v="2869" actId="207"/>
        <pc:sldMkLst>
          <pc:docMk/>
          <pc:sldMk cId="2009377035" sldId="258"/>
        </pc:sldMkLst>
      </pc:sldChg>
      <pc:sldChg chg="addSp modSp mod">
        <pc:chgData name="Vikram Chandna" userId="d41689e5-46d3-462a-81dc-f998aa5c3923" providerId="ADAL" clId="{C85EC289-28F0-4954-9B50-0E1FACBF1430}" dt="2025-04-05T06:40:14.056" v="2618" actId="1037"/>
        <pc:sldMkLst>
          <pc:docMk/>
          <pc:sldMk cId="4279016040" sldId="259"/>
        </pc:sldMkLst>
      </pc:sldChg>
      <pc:sldChg chg="add mod modShow">
        <pc:chgData name="Vikram Chandna" userId="d41689e5-46d3-462a-81dc-f998aa5c3923" providerId="ADAL" clId="{C85EC289-28F0-4954-9B50-0E1FACBF1430}" dt="2025-04-05T07:04:21.089" v="2837" actId="729"/>
        <pc:sldMkLst>
          <pc:docMk/>
          <pc:sldMk cId="1231978189" sldId="260"/>
        </pc:sldMkLst>
      </pc:sldChg>
      <pc:sldChg chg="del">
        <pc:chgData name="Vikram Chandna" userId="d41689e5-46d3-462a-81dc-f998aa5c3923" providerId="ADAL" clId="{C85EC289-28F0-4954-9B50-0E1FACBF1430}" dt="2025-04-05T06:35:51.644" v="2592" actId="2696"/>
        <pc:sldMkLst>
          <pc:docMk/>
          <pc:sldMk cId="2527071715" sldId="260"/>
        </pc:sldMkLst>
      </pc:sldChg>
      <pc:sldChg chg="addSp delSp modSp new mod">
        <pc:chgData name="Vikram Chandna" userId="d41689e5-46d3-462a-81dc-f998aa5c3923" providerId="ADAL" clId="{C85EC289-28F0-4954-9B50-0E1FACBF1430}" dt="2025-04-05T07:03:21.477" v="2835" actId="20577"/>
        <pc:sldMkLst>
          <pc:docMk/>
          <pc:sldMk cId="2091183699" sldId="262"/>
        </pc:sldMkLst>
      </pc:sldChg>
      <pc:sldChg chg="addSp delSp modSp add mod ord">
        <pc:chgData name="Vikram Chandna" userId="d41689e5-46d3-462a-81dc-f998aa5c3923" providerId="ADAL" clId="{C85EC289-28F0-4954-9B50-0E1FACBF1430}" dt="2025-04-05T06:48:05.403" v="2749" actId="20577"/>
        <pc:sldMkLst>
          <pc:docMk/>
          <pc:sldMk cId="3924828565" sldId="263"/>
        </pc:sldMkLst>
      </pc:sldChg>
      <pc:sldChg chg="addSp delSp modSp add mod">
        <pc:chgData name="Vikram Chandna" userId="d41689e5-46d3-462a-81dc-f998aa5c3923" providerId="ADAL" clId="{C85EC289-28F0-4954-9B50-0E1FACBF1430}" dt="2025-04-07T05:59:58.955" v="3017" actId="207"/>
        <pc:sldMkLst>
          <pc:docMk/>
          <pc:sldMk cId="617669049" sldId="265"/>
        </pc:sldMkLst>
      </pc:sldChg>
      <pc:sldChg chg="add del">
        <pc:chgData name="Vikram Chandna" userId="d41689e5-46d3-462a-81dc-f998aa5c3923" providerId="ADAL" clId="{C85EC289-28F0-4954-9B50-0E1FACBF1430}" dt="2025-04-05T06:47:33.141" v="2725" actId="47"/>
        <pc:sldMkLst>
          <pc:docMk/>
          <pc:sldMk cId="2771044831" sldId="265"/>
        </pc:sldMkLst>
      </pc:sldChg>
      <pc:sldChg chg="add del">
        <pc:chgData name="Vikram Chandna" userId="d41689e5-46d3-462a-81dc-f998aa5c3923" providerId="ADAL" clId="{C85EC289-28F0-4954-9B50-0E1FACBF1430}" dt="2025-04-04T13:09:18.437" v="432" actId="47"/>
        <pc:sldMkLst>
          <pc:docMk/>
          <pc:sldMk cId="2855115160" sldId="267"/>
        </pc:sldMkLst>
      </pc:sldChg>
      <pc:sldChg chg="del">
        <pc:chgData name="Vikram Chandna" userId="d41689e5-46d3-462a-81dc-f998aa5c3923" providerId="ADAL" clId="{C85EC289-28F0-4954-9B50-0E1FACBF1430}" dt="2025-04-04T12:16:24.415" v="1" actId="2696"/>
        <pc:sldMkLst>
          <pc:docMk/>
          <pc:sldMk cId="3913723818" sldId="267"/>
        </pc:sldMkLst>
      </pc:sldChg>
      <pc:sldChg chg="add">
        <pc:chgData name="Vikram Chandna" userId="d41689e5-46d3-462a-81dc-f998aa5c3923" providerId="ADAL" clId="{C85EC289-28F0-4954-9B50-0E1FACBF1430}" dt="2025-04-04T12:37:44.244" v="242"/>
        <pc:sldMkLst>
          <pc:docMk/>
          <pc:sldMk cId="3395454999" sldId="2147483647"/>
        </pc:sldMkLst>
      </pc:sldChg>
      <pc:sldChg chg="del">
        <pc:chgData name="Vikram Chandna" userId="d41689e5-46d3-462a-81dc-f998aa5c3923" providerId="ADAL" clId="{C85EC289-28F0-4954-9B50-0E1FACBF1430}" dt="2025-04-04T12:37:40.144" v="241" actId="2696"/>
        <pc:sldMkLst>
          <pc:docMk/>
          <pc:sldMk cId="3527986929" sldId="2147483647"/>
        </pc:sldMkLst>
      </pc:sldChg>
    </pc:docChg>
  </pc:docChgLst>
  <pc:docChgLst>
    <pc:chgData name="Ashutosh Dhananjay Bhamare" userId="990e45cb-1c5c-421b-ace5-d19bb915f6ac" providerId="ADAL" clId="{15029727-0693-4B2F-8E33-176788D97DCE}"/>
    <pc:docChg chg="undo custSel addSld modSld modMainMaster">
      <pc:chgData name="Ashutosh Dhananjay Bhamare" userId="990e45cb-1c5c-421b-ace5-d19bb915f6ac" providerId="ADAL" clId="{15029727-0693-4B2F-8E33-176788D97DCE}" dt="2025-06-26T15:51:33.759" v="14" actId="478"/>
      <pc:docMkLst>
        <pc:docMk/>
      </pc:docMkLst>
      <pc:sldChg chg="addSp delSp modSp mod modClrScheme chgLayout">
        <pc:chgData name="Ashutosh Dhananjay Bhamare" userId="990e45cb-1c5c-421b-ace5-d19bb915f6ac" providerId="ADAL" clId="{15029727-0693-4B2F-8E33-176788D97DCE}" dt="2025-06-26T15:51:05.288" v="6" actId="478"/>
        <pc:sldMkLst>
          <pc:docMk/>
          <pc:sldMk cId="3852124055" sldId="260"/>
        </pc:sldMkLst>
        <pc:spChg chg="add mod ord">
          <ac:chgData name="Ashutosh Dhananjay Bhamare" userId="990e45cb-1c5c-421b-ace5-d19bb915f6ac" providerId="ADAL" clId="{15029727-0693-4B2F-8E33-176788D97DCE}" dt="2025-06-26T15:51:02.165" v="5" actId="20577"/>
          <ac:spMkLst>
            <pc:docMk/>
            <pc:sldMk cId="3852124055" sldId="260"/>
            <ac:spMk id="12" creationId="{3219D152-66A6-0685-779E-354A2F3EA6EC}"/>
          </ac:spMkLst>
        </pc:spChg>
        <pc:spChg chg="del mod">
          <ac:chgData name="Ashutosh Dhananjay Bhamare" userId="990e45cb-1c5c-421b-ace5-d19bb915f6ac" providerId="ADAL" clId="{15029727-0693-4B2F-8E33-176788D97DCE}" dt="2025-06-26T15:51:05.288" v="6" actId="478"/>
          <ac:spMkLst>
            <pc:docMk/>
            <pc:sldMk cId="3852124055" sldId="260"/>
            <ac:spMk id="338" creationId="{92A88CE9-C113-8F94-6B28-E84E35558ED5}"/>
          </ac:spMkLst>
        </pc:spChg>
      </pc:sldChg>
      <pc:sldChg chg="addSp delSp modSp mod modClrScheme chgLayout">
        <pc:chgData name="Ashutosh Dhananjay Bhamare" userId="990e45cb-1c5c-421b-ace5-d19bb915f6ac" providerId="ADAL" clId="{15029727-0693-4B2F-8E33-176788D97DCE}" dt="2025-06-26T15:51:22.254" v="10" actId="478"/>
        <pc:sldMkLst>
          <pc:docMk/>
          <pc:sldMk cId="3290183935" sldId="261"/>
        </pc:sldMkLst>
        <pc:spChg chg="del mod">
          <ac:chgData name="Ashutosh Dhananjay Bhamare" userId="990e45cb-1c5c-421b-ace5-d19bb915f6ac" providerId="ADAL" clId="{15029727-0693-4B2F-8E33-176788D97DCE}" dt="2025-06-26T15:51:22.254" v="10" actId="478"/>
          <ac:spMkLst>
            <pc:docMk/>
            <pc:sldMk cId="3290183935" sldId="261"/>
            <ac:spMk id="2" creationId="{C85DF63B-E7BA-A65B-C9D2-65A655669253}"/>
          </ac:spMkLst>
        </pc:spChg>
        <pc:spChg chg="add mod ord">
          <ac:chgData name="Ashutosh Dhananjay Bhamare" userId="990e45cb-1c5c-421b-ace5-d19bb915f6ac" providerId="ADAL" clId="{15029727-0693-4B2F-8E33-176788D97DCE}" dt="2025-06-26T15:51:18.827" v="9"/>
          <ac:spMkLst>
            <pc:docMk/>
            <pc:sldMk cId="3290183935" sldId="261"/>
            <ac:spMk id="12" creationId="{25568EC9-1085-4A69-9071-5E37153AC7A8}"/>
          </ac:spMkLst>
        </pc:spChg>
      </pc:sldChg>
      <pc:sldChg chg="add">
        <pc:chgData name="Ashutosh Dhananjay Bhamare" userId="990e45cb-1c5c-421b-ace5-d19bb915f6ac" providerId="ADAL" clId="{15029727-0693-4B2F-8E33-176788D97DCE}" dt="2025-06-26T15:50:07.533" v="0"/>
        <pc:sldMkLst>
          <pc:docMk/>
          <pc:sldMk cId="4214631934" sldId="2147481665"/>
        </pc:sldMkLst>
      </pc:sldChg>
      <pc:sldMasterChg chg="modSldLayout">
        <pc:chgData name="Ashutosh Dhananjay Bhamare" userId="990e45cb-1c5c-421b-ace5-d19bb915f6ac" providerId="ADAL" clId="{15029727-0693-4B2F-8E33-176788D97DCE}" dt="2025-06-26T15:51:33.759" v="14" actId="478"/>
        <pc:sldMasterMkLst>
          <pc:docMk/>
          <pc:sldMasterMk cId="811422694" sldId="2147483768"/>
        </pc:sldMasterMkLst>
        <pc:sldLayoutChg chg="addSp delSp mod">
          <pc:chgData name="Ashutosh Dhananjay Bhamare" userId="990e45cb-1c5c-421b-ace5-d19bb915f6ac" providerId="ADAL" clId="{15029727-0693-4B2F-8E33-176788D97DCE}" dt="2025-06-26T15:51:33.759" v="14" actId="478"/>
          <pc:sldLayoutMkLst>
            <pc:docMk/>
            <pc:sldMasterMk cId="811422694" sldId="2147483768"/>
            <pc:sldLayoutMk cId="3585877539" sldId="2147483776"/>
          </pc:sldLayoutMkLst>
          <pc:spChg chg="add del">
            <ac:chgData name="Ashutosh Dhananjay Bhamare" userId="990e45cb-1c5c-421b-ace5-d19bb915f6ac" providerId="ADAL" clId="{15029727-0693-4B2F-8E33-176788D97DCE}" dt="2025-06-26T15:51:33.538" v="13" actId="478"/>
            <ac:spMkLst>
              <pc:docMk/>
              <pc:sldMasterMk cId="811422694" sldId="2147483768"/>
              <pc:sldLayoutMk cId="3585877539" sldId="2147483776"/>
              <ac:spMk id="2" creationId="{ECE03DCE-30C9-F426-C00F-B9F460DC72B9}"/>
            </ac:spMkLst>
          </pc:spChg>
          <pc:spChg chg="add del">
            <ac:chgData name="Ashutosh Dhananjay Bhamare" userId="990e45cb-1c5c-421b-ace5-d19bb915f6ac" providerId="ADAL" clId="{15029727-0693-4B2F-8E33-176788D97DCE}" dt="2025-06-26T15:51:33.759" v="14" actId="478"/>
            <ac:spMkLst>
              <pc:docMk/>
              <pc:sldMasterMk cId="811422694" sldId="2147483768"/>
              <pc:sldLayoutMk cId="3585877539" sldId="2147483776"/>
              <ac:spMk id="3" creationId="{74C22D51-73B5-F05B-D4A5-8E57C78EC35B}"/>
            </ac:spMkLst>
          </pc:spChg>
        </pc:sldLayoutChg>
      </pc:sldMasterChg>
    </pc:docChg>
  </pc:docChgLst>
  <pc:docChgLst>
    <pc:chgData name="Vikram Chandna" userId="d41689e5-46d3-462a-81dc-f998aa5c3923" providerId="ADAL" clId="{C8FD7141-2367-4765-B876-602D43117096}"/>
    <pc:docChg chg="undo custSel addSld delSld modSld sldOrd">
      <pc:chgData name="Vikram Chandna" userId="d41689e5-46d3-462a-81dc-f998aa5c3923" providerId="ADAL" clId="{C8FD7141-2367-4765-B876-602D43117096}" dt="2025-04-04T10:21:03.709" v="1832" actId="20577"/>
      <pc:docMkLst>
        <pc:docMk/>
      </pc:docMkLst>
      <pc:sldChg chg="addSp delSp modSp new mod ord modTransition modShow">
        <pc:chgData name="Vikram Chandna" userId="d41689e5-46d3-462a-81dc-f998aa5c3923" providerId="ADAL" clId="{C8FD7141-2367-4765-B876-602D43117096}" dt="2025-04-04T10:20:03.259" v="1830"/>
        <pc:sldMkLst>
          <pc:docMk/>
          <pc:sldMk cId="3932686254" sldId="256"/>
        </pc:sldMkLst>
      </pc:sldChg>
      <pc:sldChg chg="addSp delSp modSp new mod">
        <pc:chgData name="Vikram Chandna" userId="d41689e5-46d3-462a-81dc-f998aa5c3923" providerId="ADAL" clId="{C8FD7141-2367-4765-B876-602D43117096}" dt="2025-04-03T06:26:52.188" v="1374" actId="1037"/>
        <pc:sldMkLst>
          <pc:docMk/>
          <pc:sldMk cId="3673749504" sldId="257"/>
        </pc:sldMkLst>
      </pc:sldChg>
      <pc:sldChg chg="addSp delSp modSp new mod">
        <pc:chgData name="Vikram Chandna" userId="d41689e5-46d3-462a-81dc-f998aa5c3923" providerId="ADAL" clId="{C8FD7141-2367-4765-B876-602D43117096}" dt="2025-04-03T06:48:48.749" v="1429" actId="14100"/>
        <pc:sldMkLst>
          <pc:docMk/>
          <pc:sldMk cId="2009377035" sldId="258"/>
        </pc:sldMkLst>
      </pc:sldChg>
      <pc:sldChg chg="del">
        <pc:chgData name="Vikram Chandna" userId="d41689e5-46d3-462a-81dc-f998aa5c3923" providerId="ADAL" clId="{C8FD7141-2367-4765-B876-602D43117096}" dt="2025-04-03T04:32:13.894" v="169" actId="47"/>
        <pc:sldMkLst>
          <pc:docMk/>
          <pc:sldMk cId="2452165387" sldId="258"/>
        </pc:sldMkLst>
      </pc:sldChg>
      <pc:sldChg chg="addSp modSp add mod">
        <pc:chgData name="Vikram Chandna" userId="d41689e5-46d3-462a-81dc-f998aa5c3923" providerId="ADAL" clId="{C8FD7141-2367-4765-B876-602D43117096}" dt="2025-04-03T06:21:06.218" v="1344" actId="1037"/>
        <pc:sldMkLst>
          <pc:docMk/>
          <pc:sldMk cId="4279016040" sldId="259"/>
        </pc:sldMkLst>
      </pc:sldChg>
      <pc:sldChg chg="addSp modSp new mod">
        <pc:chgData name="Vikram Chandna" userId="d41689e5-46d3-462a-81dc-f998aa5c3923" providerId="ADAL" clId="{C8FD7141-2367-4765-B876-602D43117096}" dt="2025-04-04T10:02:41.331" v="1762" actId="20577"/>
        <pc:sldMkLst>
          <pc:docMk/>
          <pc:sldMk cId="2527071715" sldId="260"/>
        </pc:sldMkLst>
      </pc:sldChg>
      <pc:sldChg chg="del">
        <pc:chgData name="Vikram Chandna" userId="d41689e5-46d3-462a-81dc-f998aa5c3923" providerId="ADAL" clId="{C8FD7141-2367-4765-B876-602D43117096}" dt="2025-04-03T04:48:42.773" v="310" actId="47"/>
        <pc:sldMkLst>
          <pc:docMk/>
          <pc:sldMk cId="3967952207" sldId="260"/>
        </pc:sldMkLst>
      </pc:sldChg>
      <pc:sldChg chg="addSp delSp modSp add mod">
        <pc:chgData name="Vikram Chandna" userId="d41689e5-46d3-462a-81dc-f998aa5c3923" providerId="ADAL" clId="{C8FD7141-2367-4765-B876-602D43117096}" dt="2025-04-04T10:13:42.962" v="1819" actId="1076"/>
        <pc:sldMkLst>
          <pc:docMk/>
          <pc:sldMk cId="1042725902" sldId="261"/>
        </pc:sldMkLst>
      </pc:sldChg>
      <pc:sldChg chg="delSp modSp mod modClrScheme chgLayout">
        <pc:chgData name="Vikram Chandna" userId="d41689e5-46d3-462a-81dc-f998aa5c3923" providerId="ADAL" clId="{C8FD7141-2367-4765-B876-602D43117096}" dt="2025-04-03T04:47:05.465" v="303" actId="700"/>
        <pc:sldMkLst>
          <pc:docMk/>
          <pc:sldMk cId="2637693643" sldId="264"/>
        </pc:sldMkLst>
      </pc:sldChg>
      <pc:sldChg chg="addSp modSp mod ord">
        <pc:chgData name="Vikram Chandna" userId="d41689e5-46d3-462a-81dc-f998aa5c3923" providerId="ADAL" clId="{C8FD7141-2367-4765-B876-602D43117096}" dt="2025-04-04T10:21:03.709" v="1832" actId="20577"/>
        <pc:sldMkLst>
          <pc:docMk/>
          <pc:sldMk cId="3913723818" sldId="267"/>
        </pc:sldMkLst>
      </pc:sldChg>
      <pc:sldChg chg="addSp delSp modSp mod">
        <pc:chgData name="Vikram Chandna" userId="d41689e5-46d3-462a-81dc-f998aa5c3923" providerId="ADAL" clId="{C8FD7141-2367-4765-B876-602D43117096}" dt="2025-04-03T04:49:19.577" v="314" actId="108"/>
        <pc:sldMkLst>
          <pc:docMk/>
          <pc:sldMk cId="2110495549" sldId="2147480479"/>
        </pc:sldMkLst>
      </pc:sldChg>
      <pc:sldChg chg="addSp modSp del mod ord">
        <pc:chgData name="Vikram Chandna" userId="d41689e5-46d3-462a-81dc-f998aa5c3923" providerId="ADAL" clId="{C8FD7141-2367-4765-B876-602D43117096}" dt="2025-04-04T10:13:56.473" v="1820" actId="2696"/>
        <pc:sldMkLst>
          <pc:docMk/>
          <pc:sldMk cId="640591011" sldId="2147483620"/>
        </pc:sldMkLst>
      </pc:sldChg>
      <pc:sldChg chg="add">
        <pc:chgData name="Vikram Chandna" userId="d41689e5-46d3-462a-81dc-f998aa5c3923" providerId="ADAL" clId="{C8FD7141-2367-4765-B876-602D43117096}" dt="2025-04-04T10:13:58.822" v="1821"/>
        <pc:sldMkLst>
          <pc:docMk/>
          <pc:sldMk cId="3785921512" sldId="2147483620"/>
        </pc:sldMkLst>
      </pc:sldChg>
      <pc:sldChg chg="addSp delSp modSp mod ord">
        <pc:chgData name="Vikram Chandna" userId="d41689e5-46d3-462a-81dc-f998aa5c3923" providerId="ADAL" clId="{C8FD7141-2367-4765-B876-602D43117096}" dt="2025-04-04T10:19:48.093" v="1828"/>
        <pc:sldMkLst>
          <pc:docMk/>
          <pc:sldMk cId="350365825" sldId="2147483621"/>
        </pc:sldMkLst>
      </pc:sldChg>
      <pc:sldChg chg="addSp delSp modSp mod">
        <pc:chgData name="Vikram Chandna" userId="d41689e5-46d3-462a-81dc-f998aa5c3923" providerId="ADAL" clId="{C8FD7141-2367-4765-B876-602D43117096}" dt="2025-04-04T10:11:15.985" v="1812" actId="478"/>
        <pc:sldMkLst>
          <pc:docMk/>
          <pc:sldMk cId="4159413104" sldId="2147483643"/>
        </pc:sldMkLst>
      </pc:sldChg>
      <pc:sldChg chg="addSp delSp modSp add del mod">
        <pc:chgData name="Vikram Chandna" userId="d41689e5-46d3-462a-81dc-f998aa5c3923" providerId="ADAL" clId="{C8FD7141-2367-4765-B876-602D43117096}" dt="2025-04-03T06:21:18.628" v="1345" actId="47"/>
        <pc:sldMkLst>
          <pc:docMk/>
          <pc:sldMk cId="1769685235" sldId="2147483644"/>
        </pc:sldMkLst>
      </pc:sldChg>
      <pc:sldChg chg="add del">
        <pc:chgData name="Vikram Chandna" userId="d41689e5-46d3-462a-81dc-f998aa5c3923" providerId="ADAL" clId="{C8FD7141-2367-4765-B876-602D43117096}" dt="2025-04-03T04:48:46.476" v="311" actId="47"/>
        <pc:sldMkLst>
          <pc:docMk/>
          <pc:sldMk cId="350887577" sldId="2147483645"/>
        </pc:sldMkLst>
      </pc:sldChg>
      <pc:sldChg chg="del">
        <pc:chgData name="Vikram Chandna" userId="d41689e5-46d3-462a-81dc-f998aa5c3923" providerId="ADAL" clId="{C8FD7141-2367-4765-B876-602D43117096}" dt="2025-04-03T04:46:24.342" v="298" actId="2696"/>
        <pc:sldMkLst>
          <pc:docMk/>
          <pc:sldMk cId="382010158" sldId="2147483645"/>
        </pc:sldMkLst>
      </pc:sldChg>
      <pc:sldChg chg="addSp modSp del mod">
        <pc:chgData name="Vikram Chandna" userId="d41689e5-46d3-462a-81dc-f998aa5c3923" providerId="ADAL" clId="{C8FD7141-2367-4765-B876-602D43117096}" dt="2025-04-03T04:46:44.408" v="300" actId="47"/>
        <pc:sldMkLst>
          <pc:docMk/>
          <pc:sldMk cId="232620992" sldId="2147483646"/>
        </pc:sldMkLst>
      </pc:sldChg>
      <pc:sldChg chg="addSp modSp del mod ord">
        <pc:chgData name="Vikram Chandna" userId="d41689e5-46d3-462a-81dc-f998aa5c3923" providerId="ADAL" clId="{C8FD7141-2367-4765-B876-602D43117096}" dt="2025-04-04T10:14:18.832" v="1822" actId="2696"/>
        <pc:sldMkLst>
          <pc:docMk/>
          <pc:sldMk cId="2714398264" sldId="2147483647"/>
        </pc:sldMkLst>
      </pc:sldChg>
      <pc:sldChg chg="delSp add mod">
        <pc:chgData name="Vikram Chandna" userId="d41689e5-46d3-462a-81dc-f998aa5c3923" providerId="ADAL" clId="{C8FD7141-2367-4765-B876-602D43117096}" dt="2025-04-04T10:15:37.449" v="1824" actId="478"/>
        <pc:sldMkLst>
          <pc:docMk/>
          <pc:sldMk cId="3527986929" sldId="2147483647"/>
        </pc:sldMkLst>
      </pc:sldChg>
    </pc:docChg>
  </pc:docChgLst>
  <pc:docChgLst>
    <pc:chgData name="Vikram Chandna" userId="d41689e5-46d3-462a-81dc-f998aa5c3923" providerId="ADAL" clId="{0C60141D-BDCD-49C7-99BC-87EA1A607F32}"/>
    <pc:docChg chg="undo custSel addSld delSld modSld sldOrd">
      <pc:chgData name="Vikram Chandna" userId="d41689e5-46d3-462a-81dc-f998aa5c3923" providerId="ADAL" clId="{0C60141D-BDCD-49C7-99BC-87EA1A607F32}" dt="2024-10-22T15:23:35.814" v="6412" actId="478"/>
      <pc:docMkLst>
        <pc:docMk/>
      </pc:docMkLst>
      <pc:sldChg chg="del">
        <pc:chgData name="Vikram Chandna" userId="d41689e5-46d3-462a-81dc-f998aa5c3923" providerId="ADAL" clId="{0C60141D-BDCD-49C7-99BC-87EA1A607F32}" dt="2024-10-22T09:12:25.361" v="2124" actId="47"/>
        <pc:sldMkLst>
          <pc:docMk/>
          <pc:sldMk cId="1537510197" sldId="256"/>
        </pc:sldMkLst>
      </pc:sldChg>
      <pc:sldChg chg="add del">
        <pc:chgData name="Vikram Chandna" userId="d41689e5-46d3-462a-81dc-f998aa5c3923" providerId="ADAL" clId="{0C60141D-BDCD-49C7-99BC-87EA1A607F32}" dt="2024-10-22T09:12:12.623" v="2117" actId="47"/>
        <pc:sldMkLst>
          <pc:docMk/>
          <pc:sldMk cId="2404671707" sldId="257"/>
        </pc:sldMkLst>
      </pc:sldChg>
      <pc:sldChg chg="addSp delSp modSp new mod modTransition">
        <pc:chgData name="Vikram Chandna" userId="d41689e5-46d3-462a-81dc-f998aa5c3923" providerId="ADAL" clId="{0C60141D-BDCD-49C7-99BC-87EA1A607F32}" dt="2024-10-22T15:23:17.892" v="6411"/>
        <pc:sldMkLst>
          <pc:docMk/>
          <pc:sldMk cId="2452165387" sldId="258"/>
        </pc:sldMkLst>
      </pc:sldChg>
      <pc:sldChg chg="addSp delSp modSp del mod ord">
        <pc:chgData name="Vikram Chandna" userId="d41689e5-46d3-462a-81dc-f998aa5c3923" providerId="ADAL" clId="{0C60141D-BDCD-49C7-99BC-87EA1A607F32}" dt="2024-10-22T07:40:46.993" v="174" actId="47"/>
        <pc:sldMkLst>
          <pc:docMk/>
          <pc:sldMk cId="2600766834" sldId="258"/>
        </pc:sldMkLst>
      </pc:sldChg>
      <pc:sldChg chg="del">
        <pc:chgData name="Vikram Chandna" userId="d41689e5-46d3-462a-81dc-f998aa5c3923" providerId="ADAL" clId="{0C60141D-BDCD-49C7-99BC-87EA1A607F32}" dt="2024-10-22T09:11:58.971" v="2114" actId="47"/>
        <pc:sldMkLst>
          <pc:docMk/>
          <pc:sldMk cId="313511399" sldId="259"/>
        </pc:sldMkLst>
      </pc:sldChg>
      <pc:sldChg chg="ord modTransition">
        <pc:chgData name="Vikram Chandna" userId="d41689e5-46d3-462a-81dc-f998aa5c3923" providerId="ADAL" clId="{0C60141D-BDCD-49C7-99BC-87EA1A607F32}" dt="2024-10-22T15:23:17.892" v="6411"/>
        <pc:sldMkLst>
          <pc:docMk/>
          <pc:sldMk cId="3967952207" sldId="260"/>
        </pc:sldMkLst>
      </pc:sldChg>
      <pc:sldChg chg="del">
        <pc:chgData name="Vikram Chandna" userId="d41689e5-46d3-462a-81dc-f998aa5c3923" providerId="ADAL" clId="{0C60141D-BDCD-49C7-99BC-87EA1A607F32}" dt="2024-10-22T09:12:08.732" v="2115" actId="47"/>
        <pc:sldMkLst>
          <pc:docMk/>
          <pc:sldMk cId="2022173905" sldId="261"/>
        </pc:sldMkLst>
      </pc:sldChg>
      <pc:sldChg chg="del">
        <pc:chgData name="Vikram Chandna" userId="d41689e5-46d3-462a-81dc-f998aa5c3923" providerId="ADAL" clId="{0C60141D-BDCD-49C7-99BC-87EA1A607F32}" dt="2024-10-22T09:12:09.318" v="2116" actId="47"/>
        <pc:sldMkLst>
          <pc:docMk/>
          <pc:sldMk cId="160166271" sldId="262"/>
        </pc:sldMkLst>
      </pc:sldChg>
      <pc:sldChg chg="del">
        <pc:chgData name="Vikram Chandna" userId="d41689e5-46d3-462a-81dc-f998aa5c3923" providerId="ADAL" clId="{0C60141D-BDCD-49C7-99BC-87EA1A607F32}" dt="2024-10-22T09:02:59.607" v="1877" actId="47"/>
        <pc:sldMkLst>
          <pc:docMk/>
          <pc:sldMk cId="3733802355" sldId="263"/>
        </pc:sldMkLst>
      </pc:sldChg>
      <pc:sldChg chg="modTransition">
        <pc:chgData name="Vikram Chandna" userId="d41689e5-46d3-462a-81dc-f998aa5c3923" providerId="ADAL" clId="{0C60141D-BDCD-49C7-99BC-87EA1A607F32}" dt="2024-10-22T15:23:17.892" v="6411"/>
        <pc:sldMkLst>
          <pc:docMk/>
          <pc:sldMk cId="2637693643" sldId="264"/>
        </pc:sldMkLst>
      </pc:sldChg>
      <pc:sldChg chg="del">
        <pc:chgData name="Vikram Chandna" userId="d41689e5-46d3-462a-81dc-f998aa5c3923" providerId="ADAL" clId="{0C60141D-BDCD-49C7-99BC-87EA1A607F32}" dt="2024-10-22T07:35:27.706" v="119" actId="47"/>
        <pc:sldMkLst>
          <pc:docMk/>
          <pc:sldMk cId="2830762217" sldId="265"/>
        </pc:sldMkLst>
      </pc:sldChg>
      <pc:sldChg chg="addSp delSp modSp new mod ord modTransition">
        <pc:chgData name="Vikram Chandna" userId="d41689e5-46d3-462a-81dc-f998aa5c3923" providerId="ADAL" clId="{0C60141D-BDCD-49C7-99BC-87EA1A607F32}" dt="2024-10-22T15:23:17.892" v="6411"/>
        <pc:sldMkLst>
          <pc:docMk/>
          <pc:sldMk cId="3393285440" sldId="265"/>
        </pc:sldMkLst>
      </pc:sldChg>
      <pc:sldChg chg="del">
        <pc:chgData name="Vikram Chandna" userId="d41689e5-46d3-462a-81dc-f998aa5c3923" providerId="ADAL" clId="{0C60141D-BDCD-49C7-99BC-87EA1A607F32}" dt="2024-10-22T07:35:29.877" v="120" actId="47"/>
        <pc:sldMkLst>
          <pc:docMk/>
          <pc:sldMk cId="516959604" sldId="266"/>
        </pc:sldMkLst>
      </pc:sldChg>
      <pc:sldChg chg="addSp modSp new del mod">
        <pc:chgData name="Vikram Chandna" userId="d41689e5-46d3-462a-81dc-f998aa5c3923" providerId="ADAL" clId="{0C60141D-BDCD-49C7-99BC-87EA1A607F32}" dt="2024-10-22T07:49:40.335" v="603" actId="47"/>
        <pc:sldMkLst>
          <pc:docMk/>
          <pc:sldMk cId="2413384975" sldId="266"/>
        </pc:sldMkLst>
      </pc:sldChg>
      <pc:sldChg chg="addSp delSp modSp new del mod modShow">
        <pc:chgData name="Vikram Chandna" userId="d41689e5-46d3-462a-81dc-f998aa5c3923" providerId="ADAL" clId="{0C60141D-BDCD-49C7-99BC-87EA1A607F32}" dt="2024-10-22T11:42:09.181" v="4837" actId="47"/>
        <pc:sldMkLst>
          <pc:docMk/>
          <pc:sldMk cId="2451739146" sldId="266"/>
        </pc:sldMkLst>
      </pc:sldChg>
      <pc:sldChg chg="add del mod ord modShow">
        <pc:chgData name="Vikram Chandna" userId="d41689e5-46d3-462a-81dc-f998aa5c3923" providerId="ADAL" clId="{0C60141D-BDCD-49C7-99BC-87EA1A607F32}" dt="2024-10-22T07:20:22.147" v="36" actId="47"/>
        <pc:sldMkLst>
          <pc:docMk/>
          <pc:sldMk cId="3154023018" sldId="267"/>
        </pc:sldMkLst>
      </pc:sldChg>
      <pc:sldChg chg="addSp delSp modSp add mod modTransition">
        <pc:chgData name="Vikram Chandna" userId="d41689e5-46d3-462a-81dc-f998aa5c3923" providerId="ADAL" clId="{0C60141D-BDCD-49C7-99BC-87EA1A607F32}" dt="2024-10-22T15:23:17.892" v="6411"/>
        <pc:sldMkLst>
          <pc:docMk/>
          <pc:sldMk cId="3913723818" sldId="267"/>
        </pc:sldMkLst>
      </pc:sldChg>
      <pc:sldChg chg="addSp delSp modSp add del mod">
        <pc:chgData name="Vikram Chandna" userId="d41689e5-46d3-462a-81dc-f998aa5c3923" providerId="ADAL" clId="{0C60141D-BDCD-49C7-99BC-87EA1A607F32}" dt="2024-10-22T12:19:42.731" v="5911" actId="47"/>
        <pc:sldMkLst>
          <pc:docMk/>
          <pc:sldMk cId="2903042519" sldId="268"/>
        </pc:sldMkLst>
      </pc:sldChg>
      <pc:sldChg chg="modTransition">
        <pc:chgData name="Vikram Chandna" userId="d41689e5-46d3-462a-81dc-f998aa5c3923" providerId="ADAL" clId="{0C60141D-BDCD-49C7-99BC-87EA1A607F32}" dt="2024-10-22T15:23:17.892" v="6411"/>
        <pc:sldMkLst>
          <pc:docMk/>
          <pc:sldMk cId="2110495549" sldId="2147480479"/>
        </pc:sldMkLst>
      </pc:sldChg>
      <pc:sldChg chg="del ord">
        <pc:chgData name="Vikram Chandna" userId="d41689e5-46d3-462a-81dc-f998aa5c3923" providerId="ADAL" clId="{0C60141D-BDCD-49C7-99BC-87EA1A607F32}" dt="2024-10-22T10:36:55.945" v="4054" actId="47"/>
        <pc:sldMkLst>
          <pc:docMk/>
          <pc:sldMk cId="1345036050" sldId="2147480482"/>
        </pc:sldMkLst>
      </pc:sldChg>
      <pc:sldChg chg="del">
        <pc:chgData name="Vikram Chandna" userId="d41689e5-46d3-462a-81dc-f998aa5c3923" providerId="ADAL" clId="{0C60141D-BDCD-49C7-99BC-87EA1A607F32}" dt="2024-10-22T09:12:15.827" v="2118" actId="47"/>
        <pc:sldMkLst>
          <pc:docMk/>
          <pc:sldMk cId="3356439004" sldId="2147480497"/>
        </pc:sldMkLst>
      </pc:sldChg>
      <pc:sldChg chg="del">
        <pc:chgData name="Vikram Chandna" userId="d41689e5-46d3-462a-81dc-f998aa5c3923" providerId="ADAL" clId="{0C60141D-BDCD-49C7-99BC-87EA1A607F32}" dt="2024-10-22T09:12:24.179" v="2123" actId="47"/>
        <pc:sldMkLst>
          <pc:docMk/>
          <pc:sldMk cId="136912080" sldId="2147480509"/>
        </pc:sldMkLst>
      </pc:sldChg>
      <pc:sldChg chg="del">
        <pc:chgData name="Vikram Chandna" userId="d41689e5-46d3-462a-81dc-f998aa5c3923" providerId="ADAL" clId="{0C60141D-BDCD-49C7-99BC-87EA1A607F32}" dt="2024-10-22T09:12:17.326" v="2119" actId="47"/>
        <pc:sldMkLst>
          <pc:docMk/>
          <pc:sldMk cId="1634219631" sldId="2147480512"/>
        </pc:sldMkLst>
      </pc:sldChg>
      <pc:sldChg chg="del">
        <pc:chgData name="Vikram Chandna" userId="d41689e5-46d3-462a-81dc-f998aa5c3923" providerId="ADAL" clId="{0C60141D-BDCD-49C7-99BC-87EA1A607F32}" dt="2024-10-22T09:03:00.539" v="1878" actId="47"/>
        <pc:sldMkLst>
          <pc:docMk/>
          <pc:sldMk cId="2833585885" sldId="2147480528"/>
        </pc:sldMkLst>
      </pc:sldChg>
      <pc:sldChg chg="del">
        <pc:chgData name="Vikram Chandna" userId="d41689e5-46d3-462a-81dc-f998aa5c3923" providerId="ADAL" clId="{0C60141D-BDCD-49C7-99BC-87EA1A607F32}" dt="2024-10-22T09:02:58.924" v="1876" actId="47"/>
        <pc:sldMkLst>
          <pc:docMk/>
          <pc:sldMk cId="2392889314" sldId="2147480532"/>
        </pc:sldMkLst>
      </pc:sldChg>
      <pc:sldChg chg="del">
        <pc:chgData name="Vikram Chandna" userId="d41689e5-46d3-462a-81dc-f998aa5c3923" providerId="ADAL" clId="{0C60141D-BDCD-49C7-99BC-87EA1A607F32}" dt="2024-10-22T09:03:05.206" v="1879" actId="47"/>
        <pc:sldMkLst>
          <pc:docMk/>
          <pc:sldMk cId="1511568467" sldId="2147480538"/>
        </pc:sldMkLst>
      </pc:sldChg>
      <pc:sldChg chg="del">
        <pc:chgData name="Vikram Chandna" userId="d41689e5-46d3-462a-81dc-f998aa5c3923" providerId="ADAL" clId="{0C60141D-BDCD-49C7-99BC-87EA1A607F32}" dt="2024-10-22T09:12:28.864" v="2126" actId="47"/>
        <pc:sldMkLst>
          <pc:docMk/>
          <pc:sldMk cId="11820331" sldId="2147480540"/>
        </pc:sldMkLst>
      </pc:sldChg>
      <pc:sldChg chg="del">
        <pc:chgData name="Vikram Chandna" userId="d41689e5-46d3-462a-81dc-f998aa5c3923" providerId="ADAL" clId="{0C60141D-BDCD-49C7-99BC-87EA1A607F32}" dt="2024-10-22T09:12:23.101" v="2122" actId="47"/>
        <pc:sldMkLst>
          <pc:docMk/>
          <pc:sldMk cId="289222544" sldId="2147480542"/>
        </pc:sldMkLst>
      </pc:sldChg>
      <pc:sldChg chg="del">
        <pc:chgData name="Vikram Chandna" userId="d41689e5-46d3-462a-81dc-f998aa5c3923" providerId="ADAL" clId="{0C60141D-BDCD-49C7-99BC-87EA1A607F32}" dt="2024-10-22T07:31:10.903" v="76" actId="47"/>
        <pc:sldMkLst>
          <pc:docMk/>
          <pc:sldMk cId="73831983" sldId="2147480545"/>
        </pc:sldMkLst>
      </pc:sldChg>
      <pc:sldChg chg="del">
        <pc:chgData name="Vikram Chandna" userId="d41689e5-46d3-462a-81dc-f998aa5c3923" providerId="ADAL" clId="{0C60141D-BDCD-49C7-99BC-87EA1A607F32}" dt="2024-10-22T09:12:20.638" v="2121" actId="47"/>
        <pc:sldMkLst>
          <pc:docMk/>
          <pc:sldMk cId="2186478119" sldId="2147480547"/>
        </pc:sldMkLst>
      </pc:sldChg>
      <pc:sldChg chg="del">
        <pc:chgData name="Vikram Chandna" userId="d41689e5-46d3-462a-81dc-f998aa5c3923" providerId="ADAL" clId="{0C60141D-BDCD-49C7-99BC-87EA1A607F32}" dt="2024-10-22T09:03:15.437" v="1881" actId="47"/>
        <pc:sldMkLst>
          <pc:docMk/>
          <pc:sldMk cId="604575953" sldId="2147480552"/>
        </pc:sldMkLst>
      </pc:sldChg>
      <pc:sldChg chg="del">
        <pc:chgData name="Vikram Chandna" userId="d41689e5-46d3-462a-81dc-f998aa5c3923" providerId="ADAL" clId="{0C60141D-BDCD-49C7-99BC-87EA1A607F32}" dt="2024-10-22T09:12:18.427" v="2120" actId="47"/>
        <pc:sldMkLst>
          <pc:docMk/>
          <pc:sldMk cId="501954107" sldId="2147480554"/>
        </pc:sldMkLst>
      </pc:sldChg>
      <pc:sldChg chg="del">
        <pc:chgData name="Vikram Chandna" userId="d41689e5-46d3-462a-81dc-f998aa5c3923" providerId="ADAL" clId="{0C60141D-BDCD-49C7-99BC-87EA1A607F32}" dt="2024-10-22T09:12:26.487" v="2125" actId="47"/>
        <pc:sldMkLst>
          <pc:docMk/>
          <pc:sldMk cId="1839743383" sldId="2147480555"/>
        </pc:sldMkLst>
      </pc:sldChg>
      <pc:sldChg chg="addSp delSp modSp del mod ord modShow">
        <pc:chgData name="Vikram Chandna" userId="d41689e5-46d3-462a-81dc-f998aa5c3923" providerId="ADAL" clId="{0C60141D-BDCD-49C7-99BC-87EA1A607F32}" dt="2024-10-22T07:20:21.564" v="35" actId="47"/>
        <pc:sldMkLst>
          <pc:docMk/>
          <pc:sldMk cId="1680126466" sldId="2147483619"/>
        </pc:sldMkLst>
      </pc:sldChg>
      <pc:sldChg chg="modSp mod ord modTransition">
        <pc:chgData name="Vikram Chandna" userId="d41689e5-46d3-462a-81dc-f998aa5c3923" providerId="ADAL" clId="{0C60141D-BDCD-49C7-99BC-87EA1A607F32}" dt="2024-10-22T15:23:17.892" v="6411"/>
        <pc:sldMkLst>
          <pc:docMk/>
          <pc:sldMk cId="640591011" sldId="2147483620"/>
        </pc:sldMkLst>
      </pc:sldChg>
      <pc:sldChg chg="addSp delSp modSp mod ord modTransition">
        <pc:chgData name="Vikram Chandna" userId="d41689e5-46d3-462a-81dc-f998aa5c3923" providerId="ADAL" clId="{0C60141D-BDCD-49C7-99BC-87EA1A607F32}" dt="2024-10-22T15:23:17.892" v="6411"/>
        <pc:sldMkLst>
          <pc:docMk/>
          <pc:sldMk cId="350365825" sldId="2147483621"/>
        </pc:sldMkLst>
      </pc:sldChg>
      <pc:sldChg chg="addSp delSp modSp mod modTransition">
        <pc:chgData name="Vikram Chandna" userId="d41689e5-46d3-462a-81dc-f998aa5c3923" providerId="ADAL" clId="{0C60141D-BDCD-49C7-99BC-87EA1A607F32}" dt="2024-10-22T15:23:17.892" v="6411"/>
        <pc:sldMkLst>
          <pc:docMk/>
          <pc:sldMk cId="4159413104" sldId="2147483643"/>
        </pc:sldMkLst>
      </pc:sldChg>
      <pc:sldChg chg="addSp delSp modSp mod ord modTransition">
        <pc:chgData name="Vikram Chandna" userId="d41689e5-46d3-462a-81dc-f998aa5c3923" providerId="ADAL" clId="{0C60141D-BDCD-49C7-99BC-87EA1A607F32}" dt="2024-10-22T15:23:35.814" v="6412" actId="478"/>
        <pc:sldMkLst>
          <pc:docMk/>
          <pc:sldMk cId="1769685235" sldId="2147483644"/>
        </pc:sldMkLst>
      </pc:sldChg>
      <pc:sldChg chg="addSp delSp modSp new mod modTransition">
        <pc:chgData name="Vikram Chandna" userId="d41689e5-46d3-462a-81dc-f998aa5c3923" providerId="ADAL" clId="{0C60141D-BDCD-49C7-99BC-87EA1A607F32}" dt="2024-10-22T15:23:17.892" v="6411"/>
        <pc:sldMkLst>
          <pc:docMk/>
          <pc:sldMk cId="382010158" sldId="2147483645"/>
        </pc:sldMkLst>
      </pc:sldChg>
      <pc:sldChg chg="del">
        <pc:chgData name="Vikram Chandna" userId="d41689e5-46d3-462a-81dc-f998aa5c3923" providerId="ADAL" clId="{0C60141D-BDCD-49C7-99BC-87EA1A607F32}" dt="2024-10-22T07:31:12.464" v="78" actId="47"/>
        <pc:sldMkLst>
          <pc:docMk/>
          <pc:sldMk cId="1458227747" sldId="2147483645"/>
        </pc:sldMkLst>
      </pc:sldChg>
      <pc:sldChg chg="addSp delSp modSp new mod modTransition">
        <pc:chgData name="Vikram Chandna" userId="d41689e5-46d3-462a-81dc-f998aa5c3923" providerId="ADAL" clId="{0C60141D-BDCD-49C7-99BC-87EA1A607F32}" dt="2024-10-22T15:23:17.892" v="6411"/>
        <pc:sldMkLst>
          <pc:docMk/>
          <pc:sldMk cId="232620992" sldId="2147483646"/>
        </pc:sldMkLst>
      </pc:sldChg>
      <pc:sldChg chg="del">
        <pc:chgData name="Vikram Chandna" userId="d41689e5-46d3-462a-81dc-f998aa5c3923" providerId="ADAL" clId="{0C60141D-BDCD-49C7-99BC-87EA1A607F32}" dt="2024-10-22T07:31:11.556" v="77" actId="47"/>
        <pc:sldMkLst>
          <pc:docMk/>
          <pc:sldMk cId="3670618282" sldId="2147483646"/>
        </pc:sldMkLst>
      </pc:sldChg>
      <pc:sldChg chg="addSp delSp modSp add del mod modTransition">
        <pc:chgData name="Vikram Chandna" userId="d41689e5-46d3-462a-81dc-f998aa5c3923" providerId="ADAL" clId="{0C60141D-BDCD-49C7-99BC-87EA1A607F32}" dt="2024-10-22T15:23:17.892" v="6411"/>
        <pc:sldMkLst>
          <pc:docMk/>
          <pc:sldMk cId="2714398264" sldId="2147483647"/>
        </pc:sldMkLst>
      </pc:sldChg>
      <pc:sldChg chg="del">
        <pc:chgData name="Vikram Chandna" userId="d41689e5-46d3-462a-81dc-f998aa5c3923" providerId="ADAL" clId="{0C60141D-BDCD-49C7-99BC-87EA1A607F32}" dt="2024-10-22T09:03:11.189" v="1880" actId="47"/>
        <pc:sldMkLst>
          <pc:docMk/>
          <pc:sldMk cId="4257360978" sldId="2147483647"/>
        </pc:sldMkLst>
      </pc:sldChg>
      <pc:sldMasterChg chg="delSldLayout">
        <pc:chgData name="Vikram Chandna" userId="d41689e5-46d3-462a-81dc-f998aa5c3923" providerId="ADAL" clId="{0C60141D-BDCD-49C7-99BC-87EA1A607F32}" dt="2024-10-22T09:12:28.864" v="2126" actId="47"/>
        <pc:sldMasterMkLst>
          <pc:docMk/>
          <pc:sldMasterMk cId="1371123552" sldId="2147483667"/>
        </pc:sldMasterMkLst>
        <pc:sldLayoutChg chg="del">
          <pc:chgData name="Vikram Chandna" userId="d41689e5-46d3-462a-81dc-f998aa5c3923" providerId="ADAL" clId="{0C60141D-BDCD-49C7-99BC-87EA1A607F32}" dt="2024-10-22T07:31:12.464" v="78" actId="47"/>
          <pc:sldLayoutMkLst>
            <pc:docMk/>
            <pc:sldMasterMk cId="1371123552" sldId="2147483667"/>
            <pc:sldLayoutMk cId="1941714214" sldId="2147483683"/>
          </pc:sldLayoutMkLst>
        </pc:sldLayoutChg>
        <pc:sldLayoutChg chg="del">
          <pc:chgData name="Vikram Chandna" userId="d41689e5-46d3-462a-81dc-f998aa5c3923" providerId="ADAL" clId="{0C60141D-BDCD-49C7-99BC-87EA1A607F32}" dt="2024-10-22T09:12:28.864" v="2126" actId="47"/>
          <pc:sldLayoutMkLst>
            <pc:docMk/>
            <pc:sldMasterMk cId="1371123552" sldId="2147483667"/>
            <pc:sldLayoutMk cId="2560800338" sldId="2147483700"/>
          </pc:sldLayoutMkLst>
        </pc:sldLayoutChg>
        <pc:sldLayoutChg chg="del">
          <pc:chgData name="Vikram Chandna" userId="d41689e5-46d3-462a-81dc-f998aa5c3923" providerId="ADAL" clId="{0C60141D-BDCD-49C7-99BC-87EA1A607F32}" dt="2024-10-22T09:12:17.326" v="2119" actId="47"/>
          <pc:sldLayoutMkLst>
            <pc:docMk/>
            <pc:sldMasterMk cId="1371123552" sldId="2147483667"/>
            <pc:sldLayoutMk cId="3463134444" sldId="2147483701"/>
          </pc:sldLayoutMkLst>
        </pc:sldLayoutChg>
        <pc:sldLayoutChg chg="del">
          <pc:chgData name="Vikram Chandna" userId="d41689e5-46d3-462a-81dc-f998aa5c3923" providerId="ADAL" clId="{0C60141D-BDCD-49C7-99BC-87EA1A607F32}" dt="2024-10-22T09:12:24.179" v="2123" actId="47"/>
          <pc:sldLayoutMkLst>
            <pc:docMk/>
            <pc:sldMasterMk cId="1371123552" sldId="2147483667"/>
            <pc:sldLayoutMk cId="4156800297" sldId="2147483702"/>
          </pc:sldLayoutMkLst>
        </pc:sldLayoutChg>
      </pc:sldMasterChg>
    </pc:docChg>
  </pc:docChgLst>
  <pc:docChgLst>
    <pc:chgData name="Tapan Vora" userId="fc5255c0-7460-4b31-9a6c-5b59cbde3048" providerId="ADAL" clId="{D656AD90-31FC-4991-94F3-66C052F6F340}"/>
    <pc:docChg chg="custSel addSld modSld">
      <pc:chgData name="Tapan Vora" userId="fc5255c0-7460-4b31-9a6c-5b59cbde3048" providerId="ADAL" clId="{D656AD90-31FC-4991-94F3-66C052F6F340}" dt="2024-10-21T15:29:14.933" v="52" actId="20577"/>
      <pc:docMkLst>
        <pc:docMk/>
      </pc:docMkLst>
      <pc:sldChg chg="modSp add mod">
        <pc:chgData name="Tapan Vora" userId="fc5255c0-7460-4b31-9a6c-5b59cbde3048" providerId="ADAL" clId="{D656AD90-31FC-4991-94F3-66C052F6F340}" dt="2024-10-21T15:28:57.690" v="35" actId="20577"/>
        <pc:sldMkLst>
          <pc:docMk/>
          <pc:sldMk cId="1537510197" sldId="256"/>
        </pc:sldMkLst>
      </pc:sldChg>
      <pc:sldChg chg="modSp mod">
        <pc:chgData name="Tapan Vora" userId="fc5255c0-7460-4b31-9a6c-5b59cbde3048" providerId="ADAL" clId="{D656AD90-31FC-4991-94F3-66C052F6F340}" dt="2024-10-21T15:25:50.333" v="1" actId="14100"/>
        <pc:sldMkLst>
          <pc:docMk/>
          <pc:sldMk cId="604575953" sldId="2147480552"/>
        </pc:sldMkLst>
      </pc:sldChg>
      <pc:sldChg chg="modSp mod">
        <pc:chgData name="Tapan Vora" userId="fc5255c0-7460-4b31-9a6c-5b59cbde3048" providerId="ADAL" clId="{D656AD90-31FC-4991-94F3-66C052F6F340}" dt="2024-10-21T15:29:14.933" v="52" actId="20577"/>
        <pc:sldMkLst>
          <pc:docMk/>
          <pc:sldMk cId="1839743383" sldId="2147480555"/>
        </pc:sldMkLst>
      </pc:sldChg>
      <pc:sldChg chg="modSp mod">
        <pc:chgData name="Tapan Vora" userId="fc5255c0-7460-4b31-9a6c-5b59cbde3048" providerId="ADAL" clId="{D656AD90-31FC-4991-94F3-66C052F6F340}" dt="2024-10-21T15:26:49.147" v="12" actId="113"/>
        <pc:sldMkLst>
          <pc:docMk/>
          <pc:sldMk cId="4257360978" sldId="2147483647"/>
        </pc:sldMkLst>
      </pc:sldChg>
    </pc:docChg>
  </pc:docChgLst>
  <pc:docChgLst>
    <pc:chgData name="Vikram Chandna" userId="d41689e5-46d3-462a-81dc-f998aa5c3923" providerId="ADAL" clId="{DDD4DF72-54CF-4E94-B1AB-F13B0C46F8A6}"/>
    <pc:docChg chg="undo custSel addSld delSld modSld modMainMaster">
      <pc:chgData name="Vikram Chandna" userId="d41689e5-46d3-462a-81dc-f998aa5c3923" providerId="ADAL" clId="{DDD4DF72-54CF-4E94-B1AB-F13B0C46F8A6}" dt="2025-04-03T04:19:54.913" v="142" actId="47"/>
      <pc:docMkLst>
        <pc:docMk/>
      </pc:docMkLst>
      <pc:sldChg chg="add del">
        <pc:chgData name="Vikram Chandna" userId="d41689e5-46d3-462a-81dc-f998aa5c3923" providerId="ADAL" clId="{DDD4DF72-54CF-4E94-B1AB-F13B0C46F8A6}" dt="2025-04-03T04:19:54.913" v="142" actId="47"/>
        <pc:sldMkLst>
          <pc:docMk/>
          <pc:sldMk cId="3393285440" sldId="265"/>
        </pc:sldMkLst>
      </pc:sldChg>
      <pc:sldChg chg="addSp delSp modSp mod">
        <pc:chgData name="Vikram Chandna" userId="d41689e5-46d3-462a-81dc-f998aa5c3923" providerId="ADAL" clId="{DDD4DF72-54CF-4E94-B1AB-F13B0C46F8A6}" dt="2025-04-03T04:14:45.124" v="85" actId="404"/>
        <pc:sldMkLst>
          <pc:docMk/>
          <pc:sldMk cId="2110495549" sldId="2147480479"/>
        </pc:sldMkLst>
      </pc:sldChg>
      <pc:sldChg chg="modSp mod">
        <pc:chgData name="Vikram Chandna" userId="d41689e5-46d3-462a-81dc-f998aa5c3923" providerId="ADAL" clId="{DDD4DF72-54CF-4E94-B1AB-F13B0C46F8A6}" dt="2025-04-03T04:15:55.688" v="102" actId="14100"/>
        <pc:sldMkLst>
          <pc:docMk/>
          <pc:sldMk cId="640591011" sldId="2147483620"/>
        </pc:sldMkLst>
      </pc:sldChg>
      <pc:sldChg chg="modSp mod">
        <pc:chgData name="Vikram Chandna" userId="d41689e5-46d3-462a-81dc-f998aa5c3923" providerId="ADAL" clId="{DDD4DF72-54CF-4E94-B1AB-F13B0C46F8A6}" dt="2025-04-03T04:19:22.505" v="139" actId="207"/>
        <pc:sldMkLst>
          <pc:docMk/>
          <pc:sldMk cId="350365825" sldId="2147483621"/>
        </pc:sldMkLst>
      </pc:sldChg>
      <pc:sldChg chg="modSp mod">
        <pc:chgData name="Vikram Chandna" userId="d41689e5-46d3-462a-81dc-f998aa5c3923" providerId="ADAL" clId="{DDD4DF72-54CF-4E94-B1AB-F13B0C46F8A6}" dt="2025-04-03T04:16:05.623" v="121" actId="1038"/>
        <pc:sldMkLst>
          <pc:docMk/>
          <pc:sldMk cId="4159413104" sldId="2147483643"/>
        </pc:sldMkLst>
      </pc:sldChg>
      <pc:sldMasterChg chg="modSp mod">
        <pc:chgData name="Vikram Chandna" userId="d41689e5-46d3-462a-81dc-f998aa5c3923" providerId="ADAL" clId="{DDD4DF72-54CF-4E94-B1AB-F13B0C46F8A6}" dt="2025-04-03T04:15:38.532" v="98" actId="20577"/>
        <pc:sldMasterMkLst>
          <pc:docMk/>
          <pc:sldMasterMk cId="1371123552" sldId="2147483667"/>
        </pc:sldMasterMkLst>
      </pc:sldMasterChg>
      <pc:sldMasterChg chg="modSp mod modSldLayout">
        <pc:chgData name="Vikram Chandna" userId="d41689e5-46d3-462a-81dc-f998aa5c3923" providerId="ADAL" clId="{DDD4DF72-54CF-4E94-B1AB-F13B0C46F8A6}" dt="2025-04-03T04:17:52.462" v="135" actId="20577"/>
        <pc:sldMasterMkLst>
          <pc:docMk/>
          <pc:sldMasterMk cId="1018067219" sldId="2147483703"/>
        </pc:sldMasterMkLst>
        <pc:spChg chg="mod">
          <ac:chgData name="Vikram Chandna" userId="d41689e5-46d3-462a-81dc-f998aa5c3923" providerId="ADAL" clId="{DDD4DF72-54CF-4E94-B1AB-F13B0C46F8A6}" dt="2025-04-03T04:17:52.462" v="135" actId="20577"/>
          <ac:spMkLst>
            <pc:docMk/>
            <pc:sldMasterMk cId="1018067219" sldId="2147483703"/>
            <ac:spMk id="11" creationId="{22E9470B-84E1-682D-55CA-72B7F485EC38}"/>
          </ac:spMkLst>
        </pc:spChg>
        <pc:sldLayoutChg chg="modSp">
          <pc:chgData name="Vikram Chandna" userId="d41689e5-46d3-462a-81dc-f998aa5c3923" providerId="ADAL" clId="{DDD4DF72-54CF-4E94-B1AB-F13B0C46F8A6}" dt="2025-04-03T04:15:29.362" v="96" actId="735"/>
          <pc:sldLayoutMkLst>
            <pc:docMk/>
            <pc:sldMasterMk cId="1018067219" sldId="2147483703"/>
            <pc:sldLayoutMk cId="1787792786" sldId="2147483722"/>
          </pc:sldLayoutMkLst>
        </pc:sldLayoutChg>
      </pc:sldMasterChg>
    </pc:docChg>
  </pc:docChgLst>
  <pc:docChgLst>
    <pc:chgData name="Vikram Chandna" userId="d41689e5-46d3-462a-81dc-f998aa5c3923" providerId="ADAL" clId="{16764317-2AEB-46C5-873F-0FA6475AD4C0}"/>
    <pc:docChg chg="modSld">
      <pc:chgData name="Vikram Chandna" userId="d41689e5-46d3-462a-81dc-f998aa5c3923" providerId="ADAL" clId="{16764317-2AEB-46C5-873F-0FA6475AD4C0}" dt="2024-11-06T16:51:28.319" v="1" actId="1076"/>
      <pc:docMkLst>
        <pc:docMk/>
      </pc:docMkLst>
      <pc:sldChg chg="modSp mod">
        <pc:chgData name="Vikram Chandna" userId="d41689e5-46d3-462a-81dc-f998aa5c3923" providerId="ADAL" clId="{16764317-2AEB-46C5-873F-0FA6475AD4C0}" dt="2024-11-06T16:51:28.319" v="1" actId="1076"/>
        <pc:sldMkLst>
          <pc:docMk/>
          <pc:sldMk cId="4159413104" sldId="2147483643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53EB44-4DB4-4E3A-9A3C-9C1619F460BC}" type="datetimeFigureOut">
              <a:rPr lang="en-IN" smtClean="0"/>
              <a:t>26-06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EC93B9-CFDA-4E50-B090-0CE346DF9A9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0601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EC93B9-CFDA-4E50-B090-0CE346DF9A93}" type="slidenum">
              <a:rPr lang="en-IN" smtClean="0"/>
              <a:t>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824458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9B01B99F-2CE5-433C-8F7A-483D41C4A9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45 bold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E5456A7-BE66-D18D-4755-5BE1D37DDEF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3400" y="1822450"/>
            <a:ext cx="11125200" cy="4351338"/>
          </a:xfrm>
        </p:spPr>
        <p:txBody>
          <a:bodyPr>
            <a:normAutofit/>
          </a:bodyPr>
          <a:lstStyle>
            <a:lvl1pPr>
              <a:defRPr lang="en-US" sz="1200" b="1" dirty="0" smtClean="0">
                <a:solidFill>
                  <a:srgbClr val="595959"/>
                </a:solidFill>
                <a:latin typeface="Frutiger 45 Light" pitchFamily="2" charset="0"/>
              </a:defRPr>
            </a:lvl1pPr>
            <a:lvl2pPr>
              <a:defRPr sz="1200">
                <a:solidFill>
                  <a:srgbClr val="595959"/>
                </a:solidFill>
                <a:latin typeface="Frutiger 45 Light" pitchFamily="2" charset="0"/>
              </a:defRPr>
            </a:lvl2pPr>
            <a:lvl3pPr>
              <a:defRPr sz="1200">
                <a:solidFill>
                  <a:srgbClr val="595959"/>
                </a:solidFill>
                <a:latin typeface="Frutiger 45 Light" pitchFamily="2" charset="0"/>
              </a:defRPr>
            </a:lvl3pPr>
            <a:lvl4pPr>
              <a:defRPr sz="1200">
                <a:solidFill>
                  <a:srgbClr val="595959"/>
                </a:solidFill>
                <a:latin typeface="Frutiger 45 Light" pitchFamily="2" charset="0"/>
              </a:defRPr>
            </a:lvl4pPr>
            <a:lvl5pPr>
              <a:defRPr sz="1200">
                <a:solidFill>
                  <a:srgbClr val="595959"/>
                </a:solidFill>
                <a:latin typeface="Frutiger 45 Light" pitchFamily="2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1954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  <p15:guide id="2" pos="336">
          <p15:clr>
            <a:srgbClr val="FBAE40"/>
          </p15:clr>
        </p15:guide>
        <p15:guide id="4" pos="734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B7F8B00-12EF-4751-A034-D733BB7D51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972" y="457200"/>
            <a:ext cx="4293054" cy="1600200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45 bold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5B0E1B6-489C-4643-9FE5-9D4A936A7B8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0"/>
            <a:ext cx="7008812" cy="6857999"/>
          </a:xfrm>
        </p:spPr>
        <p:txBody>
          <a:bodyPr/>
          <a:lstStyle>
            <a:lvl1pPr marL="0" indent="0">
              <a:buNone/>
              <a:defRPr sz="3200">
                <a:solidFill>
                  <a:srgbClr val="595959"/>
                </a:solidFill>
                <a:latin typeface="Frutiger 45 Light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70DA0CC-8337-43E8-B632-01AC9639E7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8972" y="2057400"/>
            <a:ext cx="4293054" cy="3811588"/>
          </a:xfrm>
        </p:spPr>
        <p:txBody>
          <a:bodyPr/>
          <a:lstStyle>
            <a:lvl1pPr marL="0" indent="0">
              <a:buNone/>
              <a:defRPr sz="1600">
                <a:solidFill>
                  <a:srgbClr val="595959"/>
                </a:solidFill>
                <a:latin typeface="Frutiger 45 Light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96370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F7878D79-3823-9575-1C88-56C4110E1E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45 bold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767959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63948A3-32FA-5533-16DA-635E26595B61}"/>
              </a:ext>
            </a:extLst>
          </p:cNvPr>
          <p:cNvSpPr/>
          <p:nvPr userDrawn="1"/>
        </p:nvSpPr>
        <p:spPr>
          <a:xfrm flipV="1">
            <a:off x="3351682" y="1567022"/>
            <a:ext cx="2466609" cy="3840464"/>
          </a:xfrm>
          <a:prstGeom prst="rect">
            <a:avLst/>
          </a:prstGeom>
          <a:gradFill flip="none" rotWithShape="1">
            <a:gsLst>
              <a:gs pos="0">
                <a:srgbClr val="F2F7FA"/>
              </a:gs>
              <a:gs pos="100000">
                <a:srgbClr val="F9F0E0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447ABFF-7AC4-BAD1-41A4-E1FE5B8092EF}"/>
              </a:ext>
            </a:extLst>
          </p:cNvPr>
          <p:cNvSpPr/>
          <p:nvPr userDrawn="1"/>
        </p:nvSpPr>
        <p:spPr>
          <a:xfrm flipV="1">
            <a:off x="533272" y="1567022"/>
            <a:ext cx="2466609" cy="3840464"/>
          </a:xfrm>
          <a:prstGeom prst="rect">
            <a:avLst/>
          </a:prstGeom>
          <a:gradFill flip="none" rotWithShape="1">
            <a:gsLst>
              <a:gs pos="0">
                <a:srgbClr val="F2F7FA"/>
              </a:gs>
              <a:gs pos="100000">
                <a:srgbClr val="F9F0E0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B963FEE-DF85-5D77-1E01-49124A2CEAF5}"/>
              </a:ext>
            </a:extLst>
          </p:cNvPr>
          <p:cNvSpPr/>
          <p:nvPr userDrawn="1"/>
        </p:nvSpPr>
        <p:spPr>
          <a:xfrm flipV="1">
            <a:off x="6170092" y="1567022"/>
            <a:ext cx="2466609" cy="3840464"/>
          </a:xfrm>
          <a:prstGeom prst="rect">
            <a:avLst/>
          </a:prstGeom>
          <a:gradFill flip="none" rotWithShape="1">
            <a:gsLst>
              <a:gs pos="0">
                <a:srgbClr val="F2F7FA"/>
              </a:gs>
              <a:gs pos="100000">
                <a:srgbClr val="F9F0E0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5653896-D7CD-93EE-8417-E2C2E847A910}"/>
              </a:ext>
            </a:extLst>
          </p:cNvPr>
          <p:cNvSpPr/>
          <p:nvPr userDrawn="1"/>
        </p:nvSpPr>
        <p:spPr>
          <a:xfrm flipV="1">
            <a:off x="8988503" y="1567022"/>
            <a:ext cx="2466609" cy="3840464"/>
          </a:xfrm>
          <a:prstGeom prst="rect">
            <a:avLst/>
          </a:prstGeom>
          <a:gradFill flip="none" rotWithShape="1">
            <a:gsLst>
              <a:gs pos="0">
                <a:srgbClr val="F2F7FA"/>
              </a:gs>
              <a:gs pos="100000">
                <a:srgbClr val="F9F0E0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</a:endParaRP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12ACBE6E-5DAE-5B6C-1E92-11C9C662339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361829" y="1964039"/>
            <a:ext cx="809494" cy="809495"/>
          </a:xfrm>
          <a:prstGeom prst="ellipse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8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27" name="Picture Placeholder 25">
            <a:extLst>
              <a:ext uri="{FF2B5EF4-FFF2-40B4-BE49-F238E27FC236}">
                <a16:creationId xmlns:a16="http://schemas.microsoft.com/office/drawing/2014/main" id="{15DCB66B-4DA5-68F3-EAAE-A7B0A4F3B1D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180239" y="1964039"/>
            <a:ext cx="809494" cy="809495"/>
          </a:xfrm>
          <a:prstGeom prst="ellipse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8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Picture Placeholder 25">
            <a:extLst>
              <a:ext uri="{FF2B5EF4-FFF2-40B4-BE49-F238E27FC236}">
                <a16:creationId xmlns:a16="http://schemas.microsoft.com/office/drawing/2014/main" id="{416EDE06-9533-67FB-BF24-DF6C76E3E62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998649" y="1964039"/>
            <a:ext cx="809494" cy="809495"/>
          </a:xfrm>
          <a:prstGeom prst="ellipse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8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29" name="Picture Placeholder 25">
            <a:extLst>
              <a:ext uri="{FF2B5EF4-FFF2-40B4-BE49-F238E27FC236}">
                <a16:creationId xmlns:a16="http://schemas.microsoft.com/office/drawing/2014/main" id="{690D0B6E-A10C-4C7A-3858-68AF26206F2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817060" y="1964039"/>
            <a:ext cx="809494" cy="809495"/>
          </a:xfrm>
          <a:prstGeom prst="ellipse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8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7A05C422-6C2D-D524-06F6-FEBC6355E17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4234" y="3968221"/>
            <a:ext cx="2264685" cy="1173194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Frutiger 45 Light" pitchFamily="2" charset="0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3B1E9743-4863-A723-9C60-5FC5D3DBEA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52644" y="3968221"/>
            <a:ext cx="2264685" cy="1173194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Frutiger 45 Light" pitchFamily="2" charset="0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CD805F55-EF87-C927-683C-402E3B43493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1054" y="3968221"/>
            <a:ext cx="2264685" cy="1173194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Frutiger 45 Light" pitchFamily="2" charset="0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9318E5AB-5357-32EC-1C6F-7497D78CAEE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89465" y="3968221"/>
            <a:ext cx="2264685" cy="1173194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Frutiger 45 Light" pitchFamily="2" charset="0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A48394A-EAF3-AA74-A443-B84109539DEE}"/>
              </a:ext>
            </a:extLst>
          </p:cNvPr>
          <p:cNvSpPr/>
          <p:nvPr userDrawn="1"/>
        </p:nvSpPr>
        <p:spPr>
          <a:xfrm>
            <a:off x="1232786" y="2984386"/>
            <a:ext cx="1067580" cy="37784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1215128-DC01-82B5-FF95-CD17B9ACB12C}"/>
              </a:ext>
            </a:extLst>
          </p:cNvPr>
          <p:cNvSpPr/>
          <p:nvPr userDrawn="1"/>
        </p:nvSpPr>
        <p:spPr>
          <a:xfrm>
            <a:off x="4051196" y="2984386"/>
            <a:ext cx="1067580" cy="37784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0E91DFC-E616-7C47-DF0B-7E06270BF99C}"/>
              </a:ext>
            </a:extLst>
          </p:cNvPr>
          <p:cNvSpPr/>
          <p:nvPr userDrawn="1"/>
        </p:nvSpPr>
        <p:spPr>
          <a:xfrm>
            <a:off x="6869606" y="2984386"/>
            <a:ext cx="1067580" cy="37784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9A168DF-9E56-0C0D-7485-F28F78F2D2C0}"/>
              </a:ext>
            </a:extLst>
          </p:cNvPr>
          <p:cNvSpPr/>
          <p:nvPr userDrawn="1"/>
        </p:nvSpPr>
        <p:spPr>
          <a:xfrm>
            <a:off x="9688017" y="2984386"/>
            <a:ext cx="1067580" cy="37784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FB3665BC-C3D4-CE79-80F3-7F34FA3ECD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234" y="3298206"/>
            <a:ext cx="2264685" cy="42556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Frutiger 45 bold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E06ACF8C-308D-25A7-590F-09AAE35138E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52644" y="3298206"/>
            <a:ext cx="2264685" cy="331936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Frutiger 45 Light" pitchFamily="2" charset="0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403A7C49-0A7D-6B23-80B7-E91B87827A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71054" y="3298206"/>
            <a:ext cx="2264685" cy="330272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Frutiger 45 Light" pitchFamily="2" charset="0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9F247137-B811-1C0C-3ECF-8920F2723A0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89465" y="3298206"/>
            <a:ext cx="2264685" cy="330272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Frutiger 45 Light" pitchFamily="2" charset="0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EE57E6F6-95E1-BB44-5A8A-95D03F02DC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45 bold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370666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6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2941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10226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BF5B6D-5972-4E89-88BF-8E7788114A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2C87185-161D-4082-9004-04613F66158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latin typeface="Calibri Light" panose="020F03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F6FA22-4D83-41E0-871F-AD255EC8BA5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 Light" panose="020F0302020204030204" pitchFamily="34" charset="0"/>
              </a:defRPr>
            </a:lvl1pPr>
          </a:lstStyle>
          <a:p>
            <a:fld id="{5C24BA19-6294-49BC-AB4B-9DFF93E882E8}" type="datetimeFigureOut">
              <a:rPr lang="en-US" smtClean="0"/>
              <a:pPr/>
              <a:t>6/2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0AAC01-D6B2-4BE5-8A7F-AD563AC3A9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 Light" panose="020F03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B454DB-6E74-45DF-B513-8EE1D0DF9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 Light" panose="020F0302020204030204" pitchFamily="34" charset="0"/>
              </a:defRPr>
            </a:lvl1pPr>
          </a:lstStyle>
          <a:p>
            <a:fld id="{896FF2D3-6F53-45A4-A515-C60F8F27165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5756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82908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87827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763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7792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F6D7890-7A93-4CCD-A699-B1D9038F32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3398" y="1497012"/>
            <a:ext cx="11125199" cy="2978005"/>
          </a:xfrm>
        </p:spPr>
        <p:txBody>
          <a:bodyPr numCol="1"/>
          <a:lstStyle>
            <a:lvl1pPr>
              <a:lnSpc>
                <a:spcPts val="1700"/>
              </a:lnSpc>
              <a:defRPr lang="en-US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ts val="1700"/>
              </a:lnSpc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342900">
              <a:lnSpc>
                <a:spcPts val="1700"/>
              </a:lnSpc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25" indent="-228600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+mn-lt"/>
              </a:defRPr>
            </a:lvl4pPr>
            <a:lvl5pPr marL="914400" indent="-228600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+mn-lt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D4C9993D-5B34-D7A9-0B1C-5708E2ECAE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45 bold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227979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3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Marcador de número de diapositiva 5">
            <a:extLst>
              <a:ext uri="{FF2B5EF4-FFF2-40B4-BE49-F238E27FC236}">
                <a16:creationId xmlns:a16="http://schemas.microsoft.com/office/drawing/2014/main" id="{B982187F-CBBE-F09C-0F6F-730E0F0B1244}"/>
              </a:ext>
            </a:extLst>
          </p:cNvPr>
          <p:cNvSpPr txBox="1">
            <a:spLocks/>
          </p:cNvSpPr>
          <p:nvPr userDrawn="1"/>
        </p:nvSpPr>
        <p:spPr>
          <a:xfrm>
            <a:off x="11221093" y="6437871"/>
            <a:ext cx="828095" cy="324139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A9E94C-7B02-AF96-1F7F-54B7102D5C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2" y="365126"/>
            <a:ext cx="11529597" cy="410369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1634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  <p15:guide id="2" pos="336">
          <p15:clr>
            <a:srgbClr val="FBAE40"/>
          </p15:clr>
        </p15:guide>
        <p15:guide id="3" orient="horz" pos="288">
          <p15:clr>
            <a:srgbClr val="FBAE40"/>
          </p15:clr>
        </p15:guide>
        <p15:guide id="4" pos="734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2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1357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solidFill>
          <a:srgbClr val="F8F8F8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5677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9B01B99F-2CE5-433C-8F7A-483D41C4A9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23" name="Marcador de número de diapositiva 5">
            <a:extLst>
              <a:ext uri="{FF2B5EF4-FFF2-40B4-BE49-F238E27FC236}">
                <a16:creationId xmlns:a16="http://schemas.microsoft.com/office/drawing/2014/main" id="{B982187F-CBBE-F09C-0F6F-730E0F0B1244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E5456A7-BE66-D18D-4755-5BE1D37DDEF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3400" y="1822450"/>
            <a:ext cx="11125200" cy="43513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sz="1200" b="1" dirty="0" smtClean="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>
              <a:defRPr sz="1200">
                <a:solidFill>
                  <a:srgbClr val="595959"/>
                </a:solidFill>
                <a:latin typeface="Frutiger LT Pro 55 Roman" panose="020B0602020204020204" pitchFamily="34" charset="77"/>
              </a:defRPr>
            </a:lvl2pPr>
            <a:lvl3pPr>
              <a:defRPr sz="1200">
                <a:solidFill>
                  <a:srgbClr val="595959"/>
                </a:solidFill>
                <a:latin typeface="Frutiger LT Pro 55 Roman" panose="020B0602020204020204" pitchFamily="34" charset="77"/>
              </a:defRPr>
            </a:lvl3pPr>
            <a:lvl4pPr>
              <a:defRPr sz="1200">
                <a:solidFill>
                  <a:srgbClr val="595959"/>
                </a:solidFill>
                <a:latin typeface="Frutiger LT Pro 55 Roman" panose="020B0602020204020204" pitchFamily="34" charset="77"/>
              </a:defRPr>
            </a:lvl4pPr>
            <a:lvl5pPr>
              <a:defRPr sz="1200">
                <a:solidFill>
                  <a:srgbClr val="595959"/>
                </a:solidFill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4767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  <p15:guide id="2" pos="336">
          <p15:clr>
            <a:srgbClr val="FBAE40"/>
          </p15:clr>
        </p15:guide>
        <p15:guide id="3" orient="horz" pos="288">
          <p15:clr>
            <a:srgbClr val="FBAE40"/>
          </p15:clr>
        </p15:guide>
        <p15:guide id="4" pos="734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F6D7890-7A93-4CCD-A699-B1D9038F32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3398" y="1497012"/>
            <a:ext cx="11125199" cy="2978005"/>
          </a:xfrm>
          <a:prstGeom prst="rect">
            <a:avLst/>
          </a:prstGeom>
        </p:spPr>
        <p:txBody>
          <a:bodyPr numCol="1"/>
          <a:lstStyle>
            <a:lvl1pPr>
              <a:lnSpc>
                <a:spcPts val="1700"/>
              </a:lnSpc>
              <a:defRPr lang="en-US" sz="2400" b="1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1pPr>
            <a:lvl2pPr>
              <a:lnSpc>
                <a:spcPts val="1700"/>
              </a:lnSpc>
              <a:defRPr lang="en-US" sz="2000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2pPr>
            <a:lvl3pPr marL="342900" indent="-342900">
              <a:lnSpc>
                <a:spcPts val="1700"/>
              </a:lnSpc>
              <a:defRPr lang="en-US" sz="1800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3pPr>
            <a:lvl4pPr marL="568325" indent="-228600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Frutiger LT Pro 55 Roman" panose="020B0602020204020204" pitchFamily="34" charset="77"/>
              </a:defRPr>
            </a:lvl4pPr>
            <a:lvl5pPr marL="914400" indent="-228600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D4C9993D-5B34-D7A9-0B1C-5708E2ECAE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8" name="Marcador de número de diapositiva 5">
            <a:extLst>
              <a:ext uri="{FF2B5EF4-FFF2-40B4-BE49-F238E27FC236}">
                <a16:creationId xmlns:a16="http://schemas.microsoft.com/office/drawing/2014/main" id="{E9EC46A4-50CA-5032-642E-472F2C66E949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97397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3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F6D7890-7A93-4CCD-A699-B1D9038F32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3398" y="1497012"/>
            <a:ext cx="11125199" cy="2978005"/>
          </a:xfrm>
          <a:prstGeom prst="rect">
            <a:avLst/>
          </a:prstGeom>
        </p:spPr>
        <p:txBody>
          <a:bodyPr numCol="2">
            <a:normAutofit/>
          </a:bodyPr>
          <a:lstStyle>
            <a:lvl1pPr>
              <a:lnSpc>
                <a:spcPts val="1700"/>
              </a:lnSpc>
              <a:defRPr lang="en-US" sz="1400" b="1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1pPr>
            <a:lvl2pPr>
              <a:lnSpc>
                <a:spcPts val="1700"/>
              </a:lnSpc>
              <a:defRPr lang="en-US" sz="1400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2pPr>
            <a:lvl3pPr marL="342900" indent="-342900">
              <a:lnSpc>
                <a:spcPts val="1700"/>
              </a:lnSpc>
              <a:defRPr lang="en-US" sz="1400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3pPr>
            <a:lvl4pPr marL="568325" indent="-228600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Frutiger LT Pro 55 Roman" panose="020B0602020204020204" pitchFamily="34" charset="77"/>
              </a:defRPr>
            </a:lvl4pPr>
            <a:lvl5pPr marL="914400" indent="-228600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D4C9993D-5B34-D7A9-0B1C-5708E2ECAE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8" name="Marcador de número de diapositiva 5">
            <a:extLst>
              <a:ext uri="{FF2B5EF4-FFF2-40B4-BE49-F238E27FC236}">
                <a16:creationId xmlns:a16="http://schemas.microsoft.com/office/drawing/2014/main" id="{4E4B298F-D75D-0E89-ED3D-DF0CF1A87E27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429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3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F6D7890-7A93-4CCD-A699-B1D9038F32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3398" y="1497012"/>
            <a:ext cx="11125199" cy="2978005"/>
          </a:xfrm>
          <a:prstGeom prst="rect">
            <a:avLst/>
          </a:prstGeom>
        </p:spPr>
        <p:txBody>
          <a:bodyPr numCol="3">
            <a:normAutofit/>
          </a:bodyPr>
          <a:lstStyle>
            <a:lvl1pPr>
              <a:lnSpc>
                <a:spcPts val="1700"/>
              </a:lnSpc>
              <a:defRPr lang="en-US" sz="1400" b="1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1pPr>
            <a:lvl2pPr>
              <a:lnSpc>
                <a:spcPts val="1700"/>
              </a:lnSpc>
              <a:defRPr lang="en-US" sz="1400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2pPr>
            <a:lvl3pPr marL="342900" indent="-342900">
              <a:lnSpc>
                <a:spcPts val="1700"/>
              </a:lnSpc>
              <a:defRPr lang="en-US" sz="1400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3pPr>
            <a:lvl4pPr marL="568325" indent="-228600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Frutiger LT Pro 55 Roman" panose="020B0602020204020204" pitchFamily="34" charset="77"/>
              </a:defRPr>
            </a:lvl4pPr>
            <a:lvl5pPr marL="914400" indent="-228600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D4C9993D-5B34-D7A9-0B1C-5708E2ECAE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8" name="Marcador de número de diapositiva 5">
            <a:extLst>
              <a:ext uri="{FF2B5EF4-FFF2-40B4-BE49-F238E27FC236}">
                <a16:creationId xmlns:a16="http://schemas.microsoft.com/office/drawing/2014/main" id="{4BB16B3F-018F-71E7-B239-96DA6F36DEB4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857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36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CF55D43F-875F-4E2B-82B9-5EEDDAEA63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398" y="989299"/>
            <a:ext cx="8610601" cy="2852737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lang="en-US" sz="44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18B4745-7445-43DB-B108-3CDCB28A7A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398" y="3869024"/>
            <a:ext cx="861060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A424433-CA37-48A1-EF7E-E44DEC8944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18" name="Marcador de número de diapositiva 5">
            <a:extLst>
              <a:ext uri="{FF2B5EF4-FFF2-40B4-BE49-F238E27FC236}">
                <a16:creationId xmlns:a16="http://schemas.microsoft.com/office/drawing/2014/main" id="{179C2830-1743-9FEA-4F66-BCE7925B9DB5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17762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DD9C106-CE49-4F1B-A6DE-3C9818CAFB5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3399" y="1655302"/>
            <a:ext cx="5486399" cy="4351338"/>
          </a:xfrm>
          <a:prstGeom prst="rect">
            <a:avLst/>
          </a:prstGeom>
        </p:spPr>
        <p:txBody>
          <a:bodyPr/>
          <a:lstStyle>
            <a:lvl1pPr>
              <a:defRPr lang="en-US" sz="2400" b="1" dirty="0" smtClean="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>
              <a:defRPr sz="2000">
                <a:solidFill>
                  <a:srgbClr val="595959"/>
                </a:solidFill>
                <a:latin typeface="Frutiger LT Pro 55 Roman" panose="020B0602020204020204" pitchFamily="34" charset="77"/>
              </a:defRPr>
            </a:lvl2pPr>
            <a:lvl3pPr>
              <a:defRPr sz="1800">
                <a:solidFill>
                  <a:srgbClr val="595959"/>
                </a:solidFill>
                <a:latin typeface="Frutiger LT Pro 55 Roman" panose="020B0602020204020204" pitchFamily="34" charset="77"/>
              </a:defRPr>
            </a:lvl3pPr>
            <a:lvl4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4pPr>
            <a:lvl5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0E8BB916-CDFC-439C-B0EF-513AE7B06AC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172201" y="1655302"/>
            <a:ext cx="5486398" cy="4351338"/>
          </a:xfrm>
          <a:prstGeom prst="rect">
            <a:avLst/>
          </a:prstGeom>
        </p:spPr>
        <p:txBody>
          <a:bodyPr/>
          <a:lstStyle>
            <a:lvl1pPr>
              <a:defRPr lang="en-US" sz="2400" b="1" dirty="0" smtClean="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>
              <a:defRPr sz="2000">
                <a:solidFill>
                  <a:srgbClr val="595959"/>
                </a:solidFill>
                <a:latin typeface="Frutiger LT Pro 55 Roman" panose="020B0602020204020204" pitchFamily="34" charset="77"/>
              </a:defRPr>
            </a:lvl2pPr>
            <a:lvl3pPr>
              <a:defRPr sz="1800">
                <a:solidFill>
                  <a:srgbClr val="595959"/>
                </a:solidFill>
                <a:latin typeface="Frutiger LT Pro 55 Roman" panose="020B0602020204020204" pitchFamily="34" charset="77"/>
              </a:defRPr>
            </a:lvl3pPr>
            <a:lvl4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4pPr>
            <a:lvl5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78651CBE-E342-762C-71AB-7A346C0BD1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CACE2F8E-F80A-F347-8E9C-243A79D7388E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63562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704641-62E4-4217-A4FB-1461DCB349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399" y="1436914"/>
            <a:ext cx="5533119" cy="106816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lang="en-US" sz="24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BF8DFE-7699-41E5-ACEB-81719A7EB98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41141" y="1436914"/>
            <a:ext cx="5417458" cy="106816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lang="en-US" sz="24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F54FF91B-5FE4-409D-BA7F-37376CD5E4A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3399" y="2651506"/>
            <a:ext cx="5533119" cy="3432302"/>
          </a:xfrm>
          <a:prstGeom prst="rect">
            <a:avLst/>
          </a:prstGeom>
        </p:spPr>
        <p:txBody>
          <a:bodyPr/>
          <a:lstStyle>
            <a:lvl1pPr>
              <a:defRPr lang="en-US" sz="2400" b="1" dirty="0" smtClean="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>
              <a:defRPr sz="2000">
                <a:solidFill>
                  <a:srgbClr val="595959"/>
                </a:solidFill>
                <a:latin typeface="Frutiger LT Pro 55 Roman" panose="020B0602020204020204" pitchFamily="34" charset="77"/>
              </a:defRPr>
            </a:lvl2pPr>
            <a:lvl3pPr>
              <a:defRPr sz="1800">
                <a:solidFill>
                  <a:srgbClr val="595959"/>
                </a:solidFill>
                <a:latin typeface="Frutiger LT Pro 55 Roman" panose="020B0602020204020204" pitchFamily="34" charset="77"/>
              </a:defRPr>
            </a:lvl3pPr>
            <a:lvl4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4pPr>
            <a:lvl5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FDB344D-832A-4E14-93A2-EF0879A2EDA0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41141" y="2663457"/>
            <a:ext cx="5417458" cy="3432302"/>
          </a:xfrm>
          <a:prstGeom prst="rect">
            <a:avLst/>
          </a:prstGeom>
        </p:spPr>
        <p:txBody>
          <a:bodyPr/>
          <a:lstStyle>
            <a:lvl1pPr>
              <a:defRPr lang="en-US" sz="2400" b="1" dirty="0" smtClean="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>
              <a:defRPr sz="2000">
                <a:solidFill>
                  <a:srgbClr val="595959"/>
                </a:solidFill>
                <a:latin typeface="Frutiger LT Pro 55 Roman" panose="020B0602020204020204" pitchFamily="34" charset="77"/>
              </a:defRPr>
            </a:lvl2pPr>
            <a:lvl3pPr>
              <a:defRPr sz="1800">
                <a:solidFill>
                  <a:srgbClr val="595959"/>
                </a:solidFill>
                <a:latin typeface="Frutiger LT Pro 55 Roman" panose="020B0602020204020204" pitchFamily="34" charset="77"/>
              </a:defRPr>
            </a:lvl3pPr>
            <a:lvl4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4pPr>
            <a:lvl5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4" name="Marcador de número de diapositiva 5">
            <a:extLst>
              <a:ext uri="{FF2B5EF4-FFF2-40B4-BE49-F238E27FC236}">
                <a16:creationId xmlns:a16="http://schemas.microsoft.com/office/drawing/2014/main" id="{0A8FC8DD-D1CD-B223-1096-CE2AAC973F80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54184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F6D7890-7A93-4CCD-A699-B1D9038F32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3398" y="1497012"/>
            <a:ext cx="11125199" cy="2978005"/>
          </a:xfrm>
        </p:spPr>
        <p:txBody>
          <a:bodyPr numCol="3">
            <a:normAutofit/>
          </a:bodyPr>
          <a:lstStyle>
            <a:lvl1pPr>
              <a:lnSpc>
                <a:spcPts val="1700"/>
              </a:lnSpc>
              <a:defRPr lang="en-US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ts val="1700"/>
              </a:lnSpc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342900">
              <a:lnSpc>
                <a:spcPts val="1700"/>
              </a:lnSpc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25" indent="-228600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+mn-lt"/>
              </a:defRPr>
            </a:lvl4pPr>
            <a:lvl5pPr marL="914400" indent="-228600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+mn-lt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D4C9993D-5B34-D7A9-0B1C-5708E2ECAE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45 bold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88007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3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91FB881-30C1-45DC-F30C-3F1DFC4F17F8}"/>
              </a:ext>
            </a:extLst>
          </p:cNvPr>
          <p:cNvSpPr/>
          <p:nvPr userDrawn="1"/>
        </p:nvSpPr>
        <p:spPr>
          <a:xfrm>
            <a:off x="-1" y="0"/>
            <a:ext cx="12192000" cy="6228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Marcador de número de diapositiva 5">
            <a:extLst>
              <a:ext uri="{FF2B5EF4-FFF2-40B4-BE49-F238E27FC236}">
                <a16:creationId xmlns:a16="http://schemas.microsoft.com/office/drawing/2014/main" id="{3CBCC0C3-A39C-312F-C0F0-B965E11FFDA0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B90635A-C270-48A0-A1B0-C1B896E998A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1663792" y="1712849"/>
            <a:ext cx="8864415" cy="3432302"/>
          </a:xfrm>
          <a:prstGeom prst="rect">
            <a:avLst/>
          </a:prstGeom>
        </p:spPr>
        <p:txBody>
          <a:bodyPr/>
          <a:lstStyle>
            <a:lvl1pPr>
              <a:defRPr lang="en-US" sz="2400" b="1" dirty="0" smtClean="0">
                <a:solidFill>
                  <a:schemeClr val="bg1"/>
                </a:solidFill>
                <a:latin typeface="Frutiger LT Pro 55 Roman" panose="020B0602020204020204" pitchFamily="34" charset="77"/>
              </a:defRPr>
            </a:lvl1pPr>
            <a:lvl2pPr marL="114300" indent="-342900">
              <a:buFont typeface="Wingdings" pitchFamily="2" charset="2"/>
              <a:buChar char="§"/>
              <a:defRPr sz="2000">
                <a:solidFill>
                  <a:srgbClr val="595959"/>
                </a:solidFill>
                <a:latin typeface="Frutiger 45 Light" pitchFamily="2" charset="0"/>
              </a:defRPr>
            </a:lvl2pPr>
            <a:lvl3pPr marL="1085850" indent="-285750">
              <a:buFont typeface="Wingdings" pitchFamily="2" charset="2"/>
              <a:buChar char="§"/>
              <a:defRPr sz="1800">
                <a:solidFill>
                  <a:schemeClr val="bg1"/>
                </a:solidFill>
                <a:latin typeface="Frutiger LT Pro 55 Roman" panose="020B0602020204020204" pitchFamily="34" charset="77"/>
              </a:defRPr>
            </a:lvl3pPr>
            <a:lvl4pPr marL="1600200" indent="-285750">
              <a:buFont typeface="Wingdings" pitchFamily="2" charset="2"/>
              <a:buChar char="§"/>
              <a:defRPr sz="1400">
                <a:solidFill>
                  <a:schemeClr val="bg1"/>
                </a:solidFill>
                <a:latin typeface="Frutiger LT Pro 55 Roman" panose="020B0602020204020204" pitchFamily="34" charset="77"/>
              </a:defRPr>
            </a:lvl4pPr>
            <a:lvl5pPr>
              <a:buFont typeface="Wingdings" pitchFamily="2" charset="2"/>
              <a:buChar char="§"/>
              <a:defRPr sz="1400">
                <a:solidFill>
                  <a:schemeClr val="bg1"/>
                </a:solidFill>
                <a:latin typeface="Frutiger 45 Light" pitchFamily="2" charset="0"/>
              </a:defRPr>
            </a:lvl5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/>
              <a:t>Click to edit Master text styles</a:t>
            </a:r>
          </a:p>
          <a:p>
            <a:pPr marL="228600" lvl="1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/>
              <a:t>Second level</a:t>
            </a:r>
          </a:p>
          <a:p>
            <a:pPr marL="228600" lvl="2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/>
              <a:t>Third level</a:t>
            </a:r>
          </a:p>
          <a:p>
            <a:pPr marL="228600" lvl="3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/>
              <a:t>Fourth level</a:t>
            </a:r>
          </a:p>
          <a:p>
            <a:pPr marL="228600" lvl="4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/>
              <a:t>Fifth level</a:t>
            </a:r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BBD03CE7-7A4A-98C2-6D96-49236346EF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chemeClr val="bg1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332916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815C7D-CC90-4232-9BFD-B2B1B29D3D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400" y="1163411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sz="28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line goes here</a:t>
            </a:r>
            <a:br>
              <a:rPr lang="en-US"/>
            </a:br>
            <a:r>
              <a:rPr lang="en-US"/>
              <a:t>Headline goes he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6252767-4743-47D6-B4D1-07FC2385DD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3400" y="2815546"/>
            <a:ext cx="10515600" cy="27432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rgbClr val="595959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11611A3D-47D0-3647-0CCE-0CB7D32E60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12" name="Marcador de número de diapositiva 5">
            <a:extLst>
              <a:ext uri="{FF2B5EF4-FFF2-40B4-BE49-F238E27FC236}">
                <a16:creationId xmlns:a16="http://schemas.microsoft.com/office/drawing/2014/main" id="{9314451A-6C5B-D5A1-9DD9-55A1359B67FC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0221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5CDA55D2-453F-4E7D-AF30-1542DF26E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972" y="457200"/>
            <a:ext cx="4293054" cy="1600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1469E54-C50A-4DB5-B104-9B99883176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8972" y="2057400"/>
            <a:ext cx="4293054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E8A5CEA-5F4E-4109-ACB7-808AE0D5B170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5306569" y="2055542"/>
            <a:ext cx="5181599" cy="3813445"/>
          </a:xfrm>
          <a:prstGeom prst="rect">
            <a:avLst/>
          </a:prstGeom>
        </p:spPr>
        <p:txBody>
          <a:bodyPr/>
          <a:lstStyle>
            <a:lvl1pPr>
              <a:defRPr lang="en-US" sz="2400" b="1" dirty="0" smtClean="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>
              <a:defRPr sz="2000">
                <a:solidFill>
                  <a:srgbClr val="595959"/>
                </a:solidFill>
                <a:latin typeface="Frutiger LT Pro 55 Roman" panose="020B0602020204020204" pitchFamily="34" charset="77"/>
              </a:defRPr>
            </a:lvl2pPr>
            <a:lvl3pPr>
              <a:defRPr sz="1800">
                <a:solidFill>
                  <a:srgbClr val="595959"/>
                </a:solidFill>
                <a:latin typeface="Frutiger LT Pro 55 Roman" panose="020B0602020204020204" pitchFamily="34" charset="77"/>
              </a:defRPr>
            </a:lvl3pPr>
            <a:lvl4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4pPr>
            <a:lvl5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32BAEA48-FEC5-7F2A-1732-CFFB91C99D61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88856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B7F8B00-12EF-4751-A034-D733BB7D51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972" y="457200"/>
            <a:ext cx="4293054" cy="1600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5B0E1B6-489C-4643-9FE5-9D4A936A7B8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0"/>
            <a:ext cx="7008812" cy="685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70DA0CC-8337-43E8-B632-01AC9639E7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8972" y="2057400"/>
            <a:ext cx="4293054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Marcador de número de diapositiva 5">
            <a:extLst>
              <a:ext uri="{FF2B5EF4-FFF2-40B4-BE49-F238E27FC236}">
                <a16:creationId xmlns:a16="http://schemas.microsoft.com/office/drawing/2014/main" id="{3D440A3F-6F49-A806-CA5F-776CACB1FDFB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37117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F7878D79-3823-9575-1C88-56C4110E1E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4" name="Marcador de número de diapositiva 5">
            <a:extLst>
              <a:ext uri="{FF2B5EF4-FFF2-40B4-BE49-F238E27FC236}">
                <a16:creationId xmlns:a16="http://schemas.microsoft.com/office/drawing/2014/main" id="{BA5E112F-F5E3-1239-9356-9397EE4D0862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22014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63948A3-32FA-5533-16DA-635E26595B61}"/>
              </a:ext>
            </a:extLst>
          </p:cNvPr>
          <p:cNvSpPr/>
          <p:nvPr userDrawn="1"/>
        </p:nvSpPr>
        <p:spPr>
          <a:xfrm flipV="1">
            <a:off x="3351682" y="1567022"/>
            <a:ext cx="2466609" cy="3840464"/>
          </a:xfrm>
          <a:prstGeom prst="rect">
            <a:avLst/>
          </a:prstGeom>
          <a:gradFill flip="none" rotWithShape="1">
            <a:gsLst>
              <a:gs pos="0">
                <a:srgbClr val="F2F7FA"/>
              </a:gs>
              <a:gs pos="100000">
                <a:srgbClr val="F9F0E0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Frutiger LT Pro 55 Roman" panose="020B0602020204020204" pitchFamily="34" charset="77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447ABFF-7AC4-BAD1-41A4-E1FE5B8092EF}"/>
              </a:ext>
            </a:extLst>
          </p:cNvPr>
          <p:cNvSpPr/>
          <p:nvPr userDrawn="1"/>
        </p:nvSpPr>
        <p:spPr>
          <a:xfrm flipV="1">
            <a:off x="533272" y="1567022"/>
            <a:ext cx="2466609" cy="3840464"/>
          </a:xfrm>
          <a:prstGeom prst="rect">
            <a:avLst/>
          </a:prstGeom>
          <a:gradFill flip="none" rotWithShape="1">
            <a:gsLst>
              <a:gs pos="0">
                <a:srgbClr val="F2F7FA"/>
              </a:gs>
              <a:gs pos="100000">
                <a:srgbClr val="F9F0E0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Frutiger LT Pro 55 Roman" panose="020B0602020204020204" pitchFamily="34" charset="77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B963FEE-DF85-5D77-1E01-49124A2CEAF5}"/>
              </a:ext>
            </a:extLst>
          </p:cNvPr>
          <p:cNvSpPr/>
          <p:nvPr userDrawn="1"/>
        </p:nvSpPr>
        <p:spPr>
          <a:xfrm flipV="1">
            <a:off x="6170092" y="1567022"/>
            <a:ext cx="2466609" cy="3840464"/>
          </a:xfrm>
          <a:prstGeom prst="rect">
            <a:avLst/>
          </a:prstGeom>
          <a:gradFill flip="none" rotWithShape="1">
            <a:gsLst>
              <a:gs pos="0">
                <a:srgbClr val="F2F7FA"/>
              </a:gs>
              <a:gs pos="100000">
                <a:srgbClr val="F9F0E0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Frutiger LT Pro 55 Roman" panose="020B0602020204020204" pitchFamily="34" charset="77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5653896-D7CD-93EE-8417-E2C2E847A910}"/>
              </a:ext>
            </a:extLst>
          </p:cNvPr>
          <p:cNvSpPr/>
          <p:nvPr userDrawn="1"/>
        </p:nvSpPr>
        <p:spPr>
          <a:xfrm flipV="1">
            <a:off x="8988503" y="1567022"/>
            <a:ext cx="2466609" cy="3840464"/>
          </a:xfrm>
          <a:prstGeom prst="rect">
            <a:avLst/>
          </a:prstGeom>
          <a:gradFill flip="none" rotWithShape="1">
            <a:gsLst>
              <a:gs pos="0">
                <a:srgbClr val="F2F7FA"/>
              </a:gs>
              <a:gs pos="100000">
                <a:srgbClr val="F9F0E0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Frutiger LT Pro 55 Roman" panose="020B0602020204020204" pitchFamily="34" charset="77"/>
            </a:endParaRP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12ACBE6E-5DAE-5B6C-1E92-11C9C662339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361829" y="1964039"/>
            <a:ext cx="809494" cy="809495"/>
          </a:xfrm>
          <a:prstGeom prst="ellipse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500">
                <a:latin typeface="Frutiger LT Pro 55 Roman" panose="020B0602020204020204" pitchFamily="34" charset="77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7" name="Picture Placeholder 25">
            <a:extLst>
              <a:ext uri="{FF2B5EF4-FFF2-40B4-BE49-F238E27FC236}">
                <a16:creationId xmlns:a16="http://schemas.microsoft.com/office/drawing/2014/main" id="{15DCB66B-4DA5-68F3-EAAE-A7B0A4F3B1D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180239" y="1964039"/>
            <a:ext cx="809494" cy="809495"/>
          </a:xfrm>
          <a:prstGeom prst="ellipse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500">
                <a:latin typeface="Frutiger LT Pro 55 Roman" panose="020B0602020204020204" pitchFamily="34" charset="77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Picture Placeholder 25">
            <a:extLst>
              <a:ext uri="{FF2B5EF4-FFF2-40B4-BE49-F238E27FC236}">
                <a16:creationId xmlns:a16="http://schemas.microsoft.com/office/drawing/2014/main" id="{416EDE06-9533-67FB-BF24-DF6C76E3E62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998649" y="1964039"/>
            <a:ext cx="809494" cy="809495"/>
          </a:xfrm>
          <a:prstGeom prst="ellipse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500">
                <a:latin typeface="Frutiger LT Pro 55 Roman" panose="020B0602020204020204" pitchFamily="34" charset="77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9" name="Picture Placeholder 25">
            <a:extLst>
              <a:ext uri="{FF2B5EF4-FFF2-40B4-BE49-F238E27FC236}">
                <a16:creationId xmlns:a16="http://schemas.microsoft.com/office/drawing/2014/main" id="{690D0B6E-A10C-4C7A-3858-68AF26206F2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817060" y="1964039"/>
            <a:ext cx="809494" cy="809495"/>
          </a:xfrm>
          <a:prstGeom prst="ellipse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500">
                <a:latin typeface="Frutiger LT Pro 55 Roman" panose="020B0602020204020204" pitchFamily="34" charset="77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7A05C422-6C2D-D524-06F6-FEBC6355E17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4234" y="3968221"/>
            <a:ext cx="2264685" cy="117319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3B1E9743-4863-A723-9C60-5FC5D3DBEA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52644" y="3968221"/>
            <a:ext cx="2264685" cy="117319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CD805F55-EF87-C927-683C-402E3B43493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1054" y="3968221"/>
            <a:ext cx="2264685" cy="117319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9318E5AB-5357-32EC-1C6F-7497D78CAEE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89465" y="3968221"/>
            <a:ext cx="2264685" cy="117319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A48394A-EAF3-AA74-A443-B84109539DEE}"/>
              </a:ext>
            </a:extLst>
          </p:cNvPr>
          <p:cNvSpPr/>
          <p:nvPr userDrawn="1"/>
        </p:nvSpPr>
        <p:spPr>
          <a:xfrm>
            <a:off x="1232786" y="2984386"/>
            <a:ext cx="1067580" cy="37784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LT Pro 55 Roman" panose="020B0602020204020204" pitchFamily="34" charset="77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1215128-DC01-82B5-FF95-CD17B9ACB12C}"/>
              </a:ext>
            </a:extLst>
          </p:cNvPr>
          <p:cNvSpPr/>
          <p:nvPr userDrawn="1"/>
        </p:nvSpPr>
        <p:spPr>
          <a:xfrm>
            <a:off x="4051196" y="2984386"/>
            <a:ext cx="1067580" cy="37784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LT Pro 55 Roman" panose="020B0602020204020204" pitchFamily="34" charset="77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0E91DFC-E616-7C47-DF0B-7E06270BF99C}"/>
              </a:ext>
            </a:extLst>
          </p:cNvPr>
          <p:cNvSpPr/>
          <p:nvPr userDrawn="1"/>
        </p:nvSpPr>
        <p:spPr>
          <a:xfrm>
            <a:off x="6869606" y="2984386"/>
            <a:ext cx="1067580" cy="37784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LT Pro 55 Roman" panose="020B0602020204020204" pitchFamily="34" charset="77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9A168DF-9E56-0C0D-7485-F28F78F2D2C0}"/>
              </a:ext>
            </a:extLst>
          </p:cNvPr>
          <p:cNvSpPr/>
          <p:nvPr userDrawn="1"/>
        </p:nvSpPr>
        <p:spPr>
          <a:xfrm>
            <a:off x="9688017" y="2984386"/>
            <a:ext cx="1067580" cy="37784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LT Pro 55 Roman" panose="020B0602020204020204" pitchFamily="34" charset="77"/>
              <a:ea typeface="+mn-ea"/>
              <a:cs typeface="+mn-cs"/>
            </a:endParaRPr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FB3665BC-C3D4-CE79-80F3-7F34FA3ECD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234" y="3298206"/>
            <a:ext cx="2264685" cy="42556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E06ACF8C-308D-25A7-590F-09AAE35138E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52644" y="3298206"/>
            <a:ext cx="2264685" cy="331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403A7C49-0A7D-6B23-80B7-E91B87827A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71054" y="3298206"/>
            <a:ext cx="2264685" cy="33027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9F247137-B811-1C0C-3ECF-8920F2723A0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89465" y="3298206"/>
            <a:ext cx="2264685" cy="33027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EE57E6F6-95E1-BB44-5A8A-95D03F02DC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12" name="Marcador de número de diapositiva 5">
            <a:extLst>
              <a:ext uri="{FF2B5EF4-FFF2-40B4-BE49-F238E27FC236}">
                <a16:creationId xmlns:a16="http://schemas.microsoft.com/office/drawing/2014/main" id="{3BA9357F-11E9-B623-DB32-AA16F0336D11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5505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6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4163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68086" y="365125"/>
            <a:ext cx="10885714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2545776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9B01B99F-2CE5-433C-8F7A-483D41C4A9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249237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23" name="Marcador de número de diapositiva 5">
            <a:extLst>
              <a:ext uri="{FF2B5EF4-FFF2-40B4-BE49-F238E27FC236}">
                <a16:creationId xmlns:a16="http://schemas.microsoft.com/office/drawing/2014/main" id="{B982187F-CBBE-F09C-0F6F-730E0F0B1244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E5456A7-BE66-D18D-4755-5BE1D37DDEF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3400" y="1822450"/>
            <a:ext cx="11125200" cy="4351338"/>
          </a:xfrm>
        </p:spPr>
        <p:txBody>
          <a:bodyPr>
            <a:normAutofit/>
          </a:bodyPr>
          <a:lstStyle>
            <a:lvl1pPr>
              <a:defRPr lang="en-US" sz="1200" b="1" dirty="0" smtClean="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>
              <a:defRPr sz="1200">
                <a:solidFill>
                  <a:srgbClr val="595959"/>
                </a:solidFill>
                <a:latin typeface="Frutiger LT Pro 55 Roman" panose="020B0602020204020204" pitchFamily="34" charset="77"/>
              </a:defRPr>
            </a:lvl2pPr>
            <a:lvl3pPr>
              <a:defRPr sz="1200">
                <a:solidFill>
                  <a:srgbClr val="595959"/>
                </a:solidFill>
                <a:latin typeface="Frutiger LT Pro 55 Roman" panose="020B0602020204020204" pitchFamily="34" charset="77"/>
              </a:defRPr>
            </a:lvl3pPr>
            <a:lvl4pPr>
              <a:defRPr sz="1200">
                <a:solidFill>
                  <a:srgbClr val="595959"/>
                </a:solidFill>
                <a:latin typeface="Frutiger LT Pro 55 Roman" panose="020B0602020204020204" pitchFamily="34" charset="77"/>
              </a:defRPr>
            </a:lvl4pPr>
            <a:lvl5pPr>
              <a:defRPr sz="1200">
                <a:solidFill>
                  <a:srgbClr val="595959"/>
                </a:solidFill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pic>
        <p:nvPicPr>
          <p:cNvPr id="2" name="Picture 1" descr="Healthchoice - Enrollee Home">
            <a:extLst>
              <a:ext uri="{FF2B5EF4-FFF2-40B4-BE49-F238E27FC236}">
                <a16:creationId xmlns:a16="http://schemas.microsoft.com/office/drawing/2014/main" id="{478203B4-6C33-CB59-751B-BC7B3CBD1D1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2020" y="6437743"/>
            <a:ext cx="828094" cy="342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39B4491-32F3-A090-85F3-7DB406CD7811}"/>
              </a:ext>
            </a:extLst>
          </p:cNvPr>
          <p:cNvCxnSpPr/>
          <p:nvPr userDrawn="1"/>
        </p:nvCxnSpPr>
        <p:spPr>
          <a:xfrm>
            <a:off x="1833880" y="6437871"/>
            <a:ext cx="0" cy="25756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94B313FE-849E-710B-A514-5A8435D6380C}"/>
              </a:ext>
            </a:extLst>
          </p:cNvPr>
          <p:cNvGrpSpPr/>
          <p:nvPr userDrawn="1"/>
        </p:nvGrpSpPr>
        <p:grpSpPr>
          <a:xfrm rot="5400000">
            <a:off x="11424020" y="1636118"/>
            <a:ext cx="2746415" cy="803498"/>
            <a:chOff x="334964" y="745375"/>
            <a:chExt cx="4154930" cy="1215577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3BB048D-0AC9-BFE2-2154-FA8EC1EADCEF}"/>
                </a:ext>
              </a:extLst>
            </p:cNvPr>
            <p:cNvSpPr/>
            <p:nvPr/>
          </p:nvSpPr>
          <p:spPr>
            <a:xfrm>
              <a:off x="334964" y="745375"/>
              <a:ext cx="1208376" cy="1208376"/>
            </a:xfrm>
            <a:prstGeom prst="ellipse">
              <a:avLst/>
            </a:prstGeom>
            <a:solidFill>
              <a:srgbClr val="004B8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BF742CB5-9028-9788-E057-F28DC1A048F6}"/>
                </a:ext>
              </a:extLst>
            </p:cNvPr>
            <p:cNvSpPr/>
            <p:nvPr/>
          </p:nvSpPr>
          <p:spPr>
            <a:xfrm>
              <a:off x="1808241" y="745375"/>
              <a:ext cx="1208376" cy="1208376"/>
            </a:xfrm>
            <a:prstGeom prst="ellipse">
              <a:avLst/>
            </a:prstGeom>
            <a:solidFill>
              <a:srgbClr val="FFCC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EAF81F24-BF3A-B016-19C5-E5C27456B136}"/>
                </a:ext>
              </a:extLst>
            </p:cNvPr>
            <p:cNvSpPr/>
            <p:nvPr/>
          </p:nvSpPr>
          <p:spPr>
            <a:xfrm>
              <a:off x="3281518" y="752576"/>
              <a:ext cx="1208376" cy="1208376"/>
            </a:xfrm>
            <a:prstGeom prst="ellipse">
              <a:avLst/>
            </a:prstGeom>
            <a:solidFill>
              <a:srgbClr val="0088C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0203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  <p15:guide id="2" pos="336">
          <p15:clr>
            <a:srgbClr val="FBAE40"/>
          </p15:clr>
        </p15:guide>
        <p15:guide id="3" orient="horz" pos="288">
          <p15:clr>
            <a:srgbClr val="FBAE40"/>
          </p15:clr>
        </p15:guide>
        <p15:guide id="4" pos="734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F6D7890-7A93-4CCD-A699-B1D9038F32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3398" y="1497012"/>
            <a:ext cx="11125199" cy="2978005"/>
          </a:xfrm>
        </p:spPr>
        <p:txBody>
          <a:bodyPr numCol="1"/>
          <a:lstStyle>
            <a:lvl1pPr>
              <a:lnSpc>
                <a:spcPts val="1700"/>
              </a:lnSpc>
              <a:defRPr lang="en-US" sz="2400" b="1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1pPr>
            <a:lvl2pPr>
              <a:lnSpc>
                <a:spcPts val="1700"/>
              </a:lnSpc>
              <a:defRPr lang="en-US" sz="2000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2pPr>
            <a:lvl3pPr marL="342900" indent="-342900">
              <a:lnSpc>
                <a:spcPts val="1700"/>
              </a:lnSpc>
              <a:defRPr lang="en-US" sz="1800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3pPr>
            <a:lvl4pPr marL="568325" indent="-228600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Frutiger LT Pro 55 Roman" panose="020B0602020204020204" pitchFamily="34" charset="77"/>
              </a:defRPr>
            </a:lvl4pPr>
            <a:lvl5pPr marL="914400" indent="-228600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D4C9993D-5B34-D7A9-0B1C-5708E2ECAE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28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8" name="Marcador de número de diapositiva 5">
            <a:extLst>
              <a:ext uri="{FF2B5EF4-FFF2-40B4-BE49-F238E27FC236}">
                <a16:creationId xmlns:a16="http://schemas.microsoft.com/office/drawing/2014/main" id="{E9EC46A4-50CA-5032-642E-472F2C66E949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3624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3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CF55D43F-875F-4E2B-82B9-5EEDDAEA63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398" y="989299"/>
            <a:ext cx="8610601" cy="2852737"/>
          </a:xfrm>
        </p:spPr>
        <p:txBody>
          <a:bodyPr anchor="b">
            <a:normAutofit/>
          </a:bodyPr>
          <a:lstStyle>
            <a:lvl1pPr>
              <a:defRPr lang="en-US" sz="4400" b="1" kern="1200" dirty="0">
                <a:solidFill>
                  <a:srgbClr val="595959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18B4745-7445-43DB-B108-3CDCB28A7A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398" y="3869024"/>
            <a:ext cx="8610602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595959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A424433-CA37-48A1-EF7E-E44DEC8944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45 bold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40523926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F6D7890-7A93-4CCD-A699-B1D9038F32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3398" y="1497012"/>
            <a:ext cx="11125199" cy="2978005"/>
          </a:xfrm>
        </p:spPr>
        <p:txBody>
          <a:bodyPr numCol="2">
            <a:normAutofit/>
          </a:bodyPr>
          <a:lstStyle>
            <a:lvl1pPr>
              <a:lnSpc>
                <a:spcPts val="1700"/>
              </a:lnSpc>
              <a:defRPr lang="en-US" sz="1400" b="1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1pPr>
            <a:lvl2pPr>
              <a:lnSpc>
                <a:spcPts val="1700"/>
              </a:lnSpc>
              <a:defRPr lang="en-US" sz="1400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2pPr>
            <a:lvl3pPr marL="342900" indent="-342900">
              <a:lnSpc>
                <a:spcPts val="1700"/>
              </a:lnSpc>
              <a:defRPr lang="en-US" sz="1400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3pPr>
            <a:lvl4pPr marL="568325" indent="-228600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Frutiger LT Pro 55 Roman" panose="020B0602020204020204" pitchFamily="34" charset="77"/>
              </a:defRPr>
            </a:lvl4pPr>
            <a:lvl5pPr marL="914400" indent="-228600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D4C9993D-5B34-D7A9-0B1C-5708E2ECAE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8" name="Marcador de número de diapositiva 5">
            <a:extLst>
              <a:ext uri="{FF2B5EF4-FFF2-40B4-BE49-F238E27FC236}">
                <a16:creationId xmlns:a16="http://schemas.microsoft.com/office/drawing/2014/main" id="{4E4B298F-D75D-0E89-ED3D-DF0CF1A87E27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5239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36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F6D7890-7A93-4CCD-A699-B1D9038F32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3398" y="1497012"/>
            <a:ext cx="11125199" cy="2978005"/>
          </a:xfrm>
        </p:spPr>
        <p:txBody>
          <a:bodyPr numCol="3">
            <a:normAutofit/>
          </a:bodyPr>
          <a:lstStyle>
            <a:lvl1pPr>
              <a:lnSpc>
                <a:spcPts val="1700"/>
              </a:lnSpc>
              <a:defRPr lang="en-US" sz="1400" b="1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1pPr>
            <a:lvl2pPr>
              <a:lnSpc>
                <a:spcPts val="1700"/>
              </a:lnSpc>
              <a:defRPr lang="en-US" sz="1400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2pPr>
            <a:lvl3pPr marL="342900" indent="-342900">
              <a:lnSpc>
                <a:spcPts val="1700"/>
              </a:lnSpc>
              <a:defRPr lang="en-US" sz="1400" kern="1200" dirty="0" smtClean="0">
                <a:solidFill>
                  <a:schemeClr val="tx1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3pPr>
            <a:lvl4pPr marL="568325" indent="-228600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Frutiger LT Pro 55 Roman" panose="020B0602020204020204" pitchFamily="34" charset="77"/>
              </a:defRPr>
            </a:lvl4pPr>
            <a:lvl5pPr marL="914400" indent="-228600">
              <a:lnSpc>
                <a:spcPts val="1700"/>
              </a:lnSpc>
              <a:buClr>
                <a:schemeClr val="tx2">
                  <a:lumMod val="50000"/>
                </a:schemeClr>
              </a:buClr>
              <a:buFont typeface="Symbol" panose="05050102010706020507" pitchFamily="18" charset="2"/>
              <a:buChar char="-"/>
              <a:defRPr sz="1400"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D4C9993D-5B34-D7A9-0B1C-5708E2ECAE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8" name="Marcador de número de diapositiva 5">
            <a:extLst>
              <a:ext uri="{FF2B5EF4-FFF2-40B4-BE49-F238E27FC236}">
                <a16:creationId xmlns:a16="http://schemas.microsoft.com/office/drawing/2014/main" id="{4BB16B3F-018F-71E7-B239-96DA6F36DEB4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7173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CF55D43F-875F-4E2B-82B9-5EEDDAEA63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398" y="989299"/>
            <a:ext cx="8610601" cy="2852737"/>
          </a:xfrm>
        </p:spPr>
        <p:txBody>
          <a:bodyPr anchor="b">
            <a:normAutofit/>
          </a:bodyPr>
          <a:lstStyle>
            <a:lvl1pPr>
              <a:defRPr lang="en-US" sz="44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18B4745-7445-43DB-B108-3CDCB28A7A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398" y="3869024"/>
            <a:ext cx="8610602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A424433-CA37-48A1-EF7E-E44DEC8944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18" name="Marcador de número de diapositiva 5">
            <a:extLst>
              <a:ext uri="{FF2B5EF4-FFF2-40B4-BE49-F238E27FC236}">
                <a16:creationId xmlns:a16="http://schemas.microsoft.com/office/drawing/2014/main" id="{179C2830-1743-9FEA-4F66-BCE7925B9DB5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472736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DD9C106-CE49-4F1B-A6DE-3C9818CAFB5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3399" y="1655302"/>
            <a:ext cx="5486399" cy="4351338"/>
          </a:xfrm>
        </p:spPr>
        <p:txBody>
          <a:bodyPr/>
          <a:lstStyle>
            <a:lvl1pPr>
              <a:defRPr lang="en-US" sz="2400" b="1" dirty="0" smtClean="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>
              <a:defRPr sz="2000">
                <a:solidFill>
                  <a:srgbClr val="595959"/>
                </a:solidFill>
                <a:latin typeface="Frutiger LT Pro 55 Roman" panose="020B0602020204020204" pitchFamily="34" charset="77"/>
              </a:defRPr>
            </a:lvl2pPr>
            <a:lvl3pPr>
              <a:defRPr sz="1800">
                <a:solidFill>
                  <a:srgbClr val="595959"/>
                </a:solidFill>
                <a:latin typeface="Frutiger LT Pro 55 Roman" panose="020B0602020204020204" pitchFamily="34" charset="77"/>
              </a:defRPr>
            </a:lvl3pPr>
            <a:lvl4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4pPr>
            <a:lvl5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0E8BB916-CDFC-439C-B0EF-513AE7B06AC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172201" y="1655302"/>
            <a:ext cx="5486398" cy="4351338"/>
          </a:xfrm>
        </p:spPr>
        <p:txBody>
          <a:bodyPr/>
          <a:lstStyle>
            <a:lvl1pPr>
              <a:defRPr lang="en-US" sz="2400" b="1" dirty="0" smtClean="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>
              <a:defRPr sz="2000">
                <a:solidFill>
                  <a:srgbClr val="595959"/>
                </a:solidFill>
                <a:latin typeface="Frutiger LT Pro 55 Roman" panose="020B0602020204020204" pitchFamily="34" charset="77"/>
              </a:defRPr>
            </a:lvl2pPr>
            <a:lvl3pPr>
              <a:defRPr sz="1800">
                <a:solidFill>
                  <a:srgbClr val="595959"/>
                </a:solidFill>
                <a:latin typeface="Frutiger LT Pro 55 Roman" panose="020B0602020204020204" pitchFamily="34" charset="77"/>
              </a:defRPr>
            </a:lvl3pPr>
            <a:lvl4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4pPr>
            <a:lvl5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78651CBE-E342-762C-71AB-7A346C0BD1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CACE2F8E-F80A-F347-8E9C-243A79D7388E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363704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704641-62E4-4217-A4FB-1461DCB349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399" y="1436914"/>
            <a:ext cx="5533119" cy="1068161"/>
          </a:xfrm>
        </p:spPr>
        <p:txBody>
          <a:bodyPr anchor="b">
            <a:noAutofit/>
          </a:bodyPr>
          <a:lstStyle>
            <a:lvl1pPr marL="0" indent="0">
              <a:buNone/>
              <a:defRPr lang="en-US" sz="24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BF8DFE-7699-41E5-ACEB-81719A7EB98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41141" y="1436914"/>
            <a:ext cx="5417458" cy="1068161"/>
          </a:xfrm>
        </p:spPr>
        <p:txBody>
          <a:bodyPr anchor="b">
            <a:noAutofit/>
          </a:bodyPr>
          <a:lstStyle>
            <a:lvl1pPr marL="0" indent="0">
              <a:buNone/>
              <a:defRPr lang="en-US" sz="24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F54FF91B-5FE4-409D-BA7F-37376CD5E4A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3399" y="2651506"/>
            <a:ext cx="5533119" cy="3432302"/>
          </a:xfrm>
        </p:spPr>
        <p:txBody>
          <a:bodyPr/>
          <a:lstStyle>
            <a:lvl1pPr>
              <a:defRPr lang="en-US" sz="2400" b="1" dirty="0" smtClean="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>
              <a:defRPr sz="2000">
                <a:solidFill>
                  <a:srgbClr val="595959"/>
                </a:solidFill>
                <a:latin typeface="Frutiger LT Pro 55 Roman" panose="020B0602020204020204" pitchFamily="34" charset="77"/>
              </a:defRPr>
            </a:lvl2pPr>
            <a:lvl3pPr>
              <a:defRPr sz="1800">
                <a:solidFill>
                  <a:srgbClr val="595959"/>
                </a:solidFill>
                <a:latin typeface="Frutiger LT Pro 55 Roman" panose="020B0602020204020204" pitchFamily="34" charset="77"/>
              </a:defRPr>
            </a:lvl3pPr>
            <a:lvl4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4pPr>
            <a:lvl5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FDB344D-832A-4E14-93A2-EF0879A2EDA0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41141" y="2663457"/>
            <a:ext cx="5417458" cy="3432302"/>
          </a:xfrm>
        </p:spPr>
        <p:txBody>
          <a:bodyPr/>
          <a:lstStyle>
            <a:lvl1pPr>
              <a:defRPr lang="en-US" sz="2400" b="1" dirty="0" smtClean="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>
              <a:defRPr sz="2000">
                <a:solidFill>
                  <a:srgbClr val="595959"/>
                </a:solidFill>
                <a:latin typeface="Frutiger LT Pro 55 Roman" panose="020B0602020204020204" pitchFamily="34" charset="77"/>
              </a:defRPr>
            </a:lvl2pPr>
            <a:lvl3pPr>
              <a:defRPr sz="1800">
                <a:solidFill>
                  <a:srgbClr val="595959"/>
                </a:solidFill>
                <a:latin typeface="Frutiger LT Pro 55 Roman" panose="020B0602020204020204" pitchFamily="34" charset="77"/>
              </a:defRPr>
            </a:lvl3pPr>
            <a:lvl4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4pPr>
            <a:lvl5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4" name="Marcador de número de diapositiva 5">
            <a:extLst>
              <a:ext uri="{FF2B5EF4-FFF2-40B4-BE49-F238E27FC236}">
                <a16:creationId xmlns:a16="http://schemas.microsoft.com/office/drawing/2014/main" id="{0A8FC8DD-D1CD-B223-1096-CE2AAC973F80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497293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815C7D-CC90-4232-9BFD-B2B1B29D3D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400" y="1163411"/>
            <a:ext cx="10515600" cy="1325563"/>
          </a:xfrm>
        </p:spPr>
        <p:txBody>
          <a:bodyPr>
            <a:normAutofit/>
          </a:bodyPr>
          <a:lstStyle>
            <a:lvl1pPr>
              <a:defRPr lang="en-US" sz="28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line goes here</a:t>
            </a:r>
            <a:br>
              <a:rPr lang="en-US"/>
            </a:br>
            <a:r>
              <a:rPr lang="en-US"/>
              <a:t>Headline goes he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6252767-4743-47D6-B4D1-07FC2385DD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3400" y="2815546"/>
            <a:ext cx="10515600" cy="27432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rgbClr val="595959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11611A3D-47D0-3647-0CCE-0CB7D32E60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12" name="Marcador de número de diapositiva 5">
            <a:extLst>
              <a:ext uri="{FF2B5EF4-FFF2-40B4-BE49-F238E27FC236}">
                <a16:creationId xmlns:a16="http://schemas.microsoft.com/office/drawing/2014/main" id="{9314451A-6C5B-D5A1-9DD9-55A1359B67FC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6167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64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5CDA55D2-453F-4E7D-AF30-1542DF26E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972" y="457200"/>
            <a:ext cx="4293054" cy="1600200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1469E54-C50A-4DB5-B104-9B99883176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8972" y="2057400"/>
            <a:ext cx="4293054" cy="3811588"/>
          </a:xfrm>
        </p:spPr>
        <p:txBody>
          <a:bodyPr/>
          <a:lstStyle>
            <a:lvl1pPr marL="0" indent="0">
              <a:buNone/>
              <a:defRPr sz="160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E8A5CEA-5F4E-4109-ACB7-808AE0D5B170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5306569" y="2055542"/>
            <a:ext cx="5181599" cy="3813445"/>
          </a:xfrm>
        </p:spPr>
        <p:txBody>
          <a:bodyPr/>
          <a:lstStyle>
            <a:lvl1pPr>
              <a:defRPr lang="en-US" sz="2400" b="1" dirty="0" smtClean="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>
              <a:defRPr sz="2000">
                <a:solidFill>
                  <a:srgbClr val="595959"/>
                </a:solidFill>
                <a:latin typeface="Frutiger LT Pro 55 Roman" panose="020B0602020204020204" pitchFamily="34" charset="77"/>
              </a:defRPr>
            </a:lvl2pPr>
            <a:lvl3pPr>
              <a:defRPr sz="1800">
                <a:solidFill>
                  <a:srgbClr val="595959"/>
                </a:solidFill>
                <a:latin typeface="Frutiger LT Pro 55 Roman" panose="020B0602020204020204" pitchFamily="34" charset="77"/>
              </a:defRPr>
            </a:lvl3pPr>
            <a:lvl4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4pPr>
            <a:lvl5pPr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32BAEA48-FEC5-7F2A-1732-CFFB91C99D61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661595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B7F8B00-12EF-4751-A034-D733BB7D51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972" y="457200"/>
            <a:ext cx="4293054" cy="1600200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5B0E1B6-489C-4643-9FE5-9D4A936A7B8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0"/>
            <a:ext cx="7008812" cy="6857999"/>
          </a:xfrm>
        </p:spPr>
        <p:txBody>
          <a:bodyPr/>
          <a:lstStyle>
            <a:lvl1pPr marL="0" indent="0">
              <a:buNone/>
              <a:defRPr sz="320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70DA0CC-8337-43E8-B632-01AC9639E7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8972" y="2057400"/>
            <a:ext cx="4293054" cy="3811588"/>
          </a:xfrm>
        </p:spPr>
        <p:txBody>
          <a:bodyPr/>
          <a:lstStyle>
            <a:lvl1pPr marL="0" indent="0">
              <a:buNone/>
              <a:defRPr sz="160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Marcador de número de diapositiva 5">
            <a:extLst>
              <a:ext uri="{FF2B5EF4-FFF2-40B4-BE49-F238E27FC236}">
                <a16:creationId xmlns:a16="http://schemas.microsoft.com/office/drawing/2014/main" id="{3D440A3F-6F49-A806-CA5F-776CACB1FDFB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126375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F7878D79-3823-9575-1C88-56C4110E1E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4" name="Marcador de número de diapositiva 5">
            <a:extLst>
              <a:ext uri="{FF2B5EF4-FFF2-40B4-BE49-F238E27FC236}">
                <a16:creationId xmlns:a16="http://schemas.microsoft.com/office/drawing/2014/main" id="{BA5E112F-F5E3-1239-9356-9397EE4D0862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00705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63948A3-32FA-5533-16DA-635E26595B61}"/>
              </a:ext>
            </a:extLst>
          </p:cNvPr>
          <p:cNvSpPr/>
          <p:nvPr userDrawn="1"/>
        </p:nvSpPr>
        <p:spPr>
          <a:xfrm flipV="1">
            <a:off x="3351682" y="1567022"/>
            <a:ext cx="2466609" cy="3840464"/>
          </a:xfrm>
          <a:prstGeom prst="rect">
            <a:avLst/>
          </a:prstGeom>
          <a:gradFill flip="none" rotWithShape="1">
            <a:gsLst>
              <a:gs pos="0">
                <a:srgbClr val="F2F7FA"/>
              </a:gs>
              <a:gs pos="100000">
                <a:srgbClr val="F9F0E0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Frutiger LT Pro 55 Roman" panose="020B0602020204020204" pitchFamily="34" charset="77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447ABFF-7AC4-BAD1-41A4-E1FE5B8092EF}"/>
              </a:ext>
            </a:extLst>
          </p:cNvPr>
          <p:cNvSpPr/>
          <p:nvPr userDrawn="1"/>
        </p:nvSpPr>
        <p:spPr>
          <a:xfrm flipV="1">
            <a:off x="533272" y="1567022"/>
            <a:ext cx="2466609" cy="3840464"/>
          </a:xfrm>
          <a:prstGeom prst="rect">
            <a:avLst/>
          </a:prstGeom>
          <a:gradFill flip="none" rotWithShape="1">
            <a:gsLst>
              <a:gs pos="0">
                <a:srgbClr val="F2F7FA"/>
              </a:gs>
              <a:gs pos="100000">
                <a:srgbClr val="F9F0E0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Frutiger LT Pro 55 Roman" panose="020B0602020204020204" pitchFamily="34" charset="77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B963FEE-DF85-5D77-1E01-49124A2CEAF5}"/>
              </a:ext>
            </a:extLst>
          </p:cNvPr>
          <p:cNvSpPr/>
          <p:nvPr userDrawn="1"/>
        </p:nvSpPr>
        <p:spPr>
          <a:xfrm flipV="1">
            <a:off x="6170092" y="1567022"/>
            <a:ext cx="2466609" cy="3840464"/>
          </a:xfrm>
          <a:prstGeom prst="rect">
            <a:avLst/>
          </a:prstGeom>
          <a:gradFill flip="none" rotWithShape="1">
            <a:gsLst>
              <a:gs pos="0">
                <a:srgbClr val="F2F7FA"/>
              </a:gs>
              <a:gs pos="100000">
                <a:srgbClr val="F9F0E0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Frutiger LT Pro 55 Roman" panose="020B0602020204020204" pitchFamily="34" charset="77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5653896-D7CD-93EE-8417-E2C2E847A910}"/>
              </a:ext>
            </a:extLst>
          </p:cNvPr>
          <p:cNvSpPr/>
          <p:nvPr userDrawn="1"/>
        </p:nvSpPr>
        <p:spPr>
          <a:xfrm flipV="1">
            <a:off x="8988503" y="1567022"/>
            <a:ext cx="2466609" cy="3840464"/>
          </a:xfrm>
          <a:prstGeom prst="rect">
            <a:avLst/>
          </a:prstGeom>
          <a:gradFill flip="none" rotWithShape="1">
            <a:gsLst>
              <a:gs pos="0">
                <a:srgbClr val="F2F7FA"/>
              </a:gs>
              <a:gs pos="100000">
                <a:srgbClr val="F9F0E0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Frutiger LT Pro 55 Roman" panose="020B0602020204020204" pitchFamily="34" charset="77"/>
            </a:endParaRP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12ACBE6E-5DAE-5B6C-1E92-11C9C662339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361829" y="1964039"/>
            <a:ext cx="809494" cy="809495"/>
          </a:xfrm>
          <a:prstGeom prst="ellipse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500">
                <a:latin typeface="Frutiger LT Pro 55 Roman" panose="020B0602020204020204" pitchFamily="34" charset="77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7" name="Picture Placeholder 25">
            <a:extLst>
              <a:ext uri="{FF2B5EF4-FFF2-40B4-BE49-F238E27FC236}">
                <a16:creationId xmlns:a16="http://schemas.microsoft.com/office/drawing/2014/main" id="{15DCB66B-4DA5-68F3-EAAE-A7B0A4F3B1D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180239" y="1964039"/>
            <a:ext cx="809494" cy="809495"/>
          </a:xfrm>
          <a:prstGeom prst="ellipse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500">
                <a:latin typeface="Frutiger LT Pro 55 Roman" panose="020B0602020204020204" pitchFamily="34" charset="77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Picture Placeholder 25">
            <a:extLst>
              <a:ext uri="{FF2B5EF4-FFF2-40B4-BE49-F238E27FC236}">
                <a16:creationId xmlns:a16="http://schemas.microsoft.com/office/drawing/2014/main" id="{416EDE06-9533-67FB-BF24-DF6C76E3E62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998649" y="1964039"/>
            <a:ext cx="809494" cy="809495"/>
          </a:xfrm>
          <a:prstGeom prst="ellipse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500">
                <a:latin typeface="Frutiger LT Pro 55 Roman" panose="020B0602020204020204" pitchFamily="34" charset="77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9" name="Picture Placeholder 25">
            <a:extLst>
              <a:ext uri="{FF2B5EF4-FFF2-40B4-BE49-F238E27FC236}">
                <a16:creationId xmlns:a16="http://schemas.microsoft.com/office/drawing/2014/main" id="{690D0B6E-A10C-4C7A-3858-68AF26206F2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817060" y="1964039"/>
            <a:ext cx="809494" cy="809495"/>
          </a:xfrm>
          <a:prstGeom prst="ellipse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500">
                <a:latin typeface="Frutiger LT Pro 55 Roman" panose="020B0602020204020204" pitchFamily="34" charset="77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7A05C422-6C2D-D524-06F6-FEBC6355E17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4234" y="3968221"/>
            <a:ext cx="2264685" cy="1173194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3B1E9743-4863-A723-9C60-5FC5D3DBEA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52644" y="3968221"/>
            <a:ext cx="2264685" cy="1173194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CD805F55-EF87-C927-683C-402E3B43493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1054" y="3968221"/>
            <a:ext cx="2264685" cy="1173194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9318E5AB-5357-32EC-1C6F-7497D78CAEE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89465" y="3968221"/>
            <a:ext cx="2264685" cy="1173194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A48394A-EAF3-AA74-A443-B84109539DEE}"/>
              </a:ext>
            </a:extLst>
          </p:cNvPr>
          <p:cNvSpPr/>
          <p:nvPr userDrawn="1"/>
        </p:nvSpPr>
        <p:spPr>
          <a:xfrm>
            <a:off x="1232786" y="2984386"/>
            <a:ext cx="1067580" cy="37784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LT Pro 55 Roman" panose="020B0602020204020204" pitchFamily="34" charset="77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1215128-DC01-82B5-FF95-CD17B9ACB12C}"/>
              </a:ext>
            </a:extLst>
          </p:cNvPr>
          <p:cNvSpPr/>
          <p:nvPr userDrawn="1"/>
        </p:nvSpPr>
        <p:spPr>
          <a:xfrm>
            <a:off x="4051196" y="2984386"/>
            <a:ext cx="1067580" cy="37784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LT Pro 55 Roman" panose="020B0602020204020204" pitchFamily="34" charset="77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0E91DFC-E616-7C47-DF0B-7E06270BF99C}"/>
              </a:ext>
            </a:extLst>
          </p:cNvPr>
          <p:cNvSpPr/>
          <p:nvPr userDrawn="1"/>
        </p:nvSpPr>
        <p:spPr>
          <a:xfrm>
            <a:off x="6869606" y="2984386"/>
            <a:ext cx="1067580" cy="37784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LT Pro 55 Roman" panose="020B0602020204020204" pitchFamily="34" charset="77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9A168DF-9E56-0C0D-7485-F28F78F2D2C0}"/>
              </a:ext>
            </a:extLst>
          </p:cNvPr>
          <p:cNvSpPr/>
          <p:nvPr userDrawn="1"/>
        </p:nvSpPr>
        <p:spPr>
          <a:xfrm>
            <a:off x="9688017" y="2984386"/>
            <a:ext cx="1067580" cy="37784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LT Pro 55 Roman" panose="020B0602020204020204" pitchFamily="34" charset="77"/>
              <a:ea typeface="+mn-ea"/>
              <a:cs typeface="+mn-cs"/>
            </a:endParaRPr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FB3665BC-C3D4-CE79-80F3-7F34FA3ECD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234" y="3298206"/>
            <a:ext cx="2264685" cy="42556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E06ACF8C-308D-25A7-590F-09AAE35138E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52644" y="3298206"/>
            <a:ext cx="2264685" cy="331936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403A7C49-0A7D-6B23-80B7-E91B87827A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71054" y="3298206"/>
            <a:ext cx="2264685" cy="330272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9F247137-B811-1C0C-3ECF-8920F2723A0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89465" y="3298206"/>
            <a:ext cx="2264685" cy="330272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Frutiger LT Pro 55 Roman" panose="020B0602020204020204" pitchFamily="34" charset="77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EE57E6F6-95E1-BB44-5A8A-95D03F02DC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LT Pro 55 Roman" panose="020B0602020204020204" pitchFamily="34" charset="77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12" name="Marcador de número de diapositiva 5">
            <a:extLst>
              <a:ext uri="{FF2B5EF4-FFF2-40B4-BE49-F238E27FC236}">
                <a16:creationId xmlns:a16="http://schemas.microsoft.com/office/drawing/2014/main" id="{3BA9357F-11E9-B623-DB32-AA16F0336D11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rgbClr val="00001E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rgbClr val="00001E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47475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6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DD9C106-CE49-4F1B-A6DE-3C9818CAFB5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3399" y="1655302"/>
            <a:ext cx="5486399" cy="4351338"/>
          </a:xfrm>
        </p:spPr>
        <p:txBody>
          <a:bodyPr/>
          <a:lstStyle>
            <a:lvl1pPr>
              <a:defRPr lang="en-US" sz="2400" b="1" dirty="0" smtClean="0">
                <a:solidFill>
                  <a:srgbClr val="595959"/>
                </a:solidFill>
                <a:latin typeface="Frutiger 45 Light" pitchFamily="2" charset="0"/>
              </a:defRPr>
            </a:lvl1pPr>
            <a:lvl2pPr>
              <a:defRPr sz="2000">
                <a:solidFill>
                  <a:srgbClr val="595959"/>
                </a:solidFill>
                <a:latin typeface="Frutiger 45 Light" pitchFamily="2" charset="0"/>
              </a:defRPr>
            </a:lvl2pPr>
            <a:lvl3pPr>
              <a:defRPr sz="1800">
                <a:solidFill>
                  <a:srgbClr val="595959"/>
                </a:solidFill>
                <a:latin typeface="Frutiger 45 Light" pitchFamily="2" charset="0"/>
              </a:defRPr>
            </a:lvl3pPr>
            <a:lvl4pPr>
              <a:defRPr sz="1400">
                <a:solidFill>
                  <a:srgbClr val="595959"/>
                </a:solidFill>
                <a:latin typeface="Frutiger 45 Light" pitchFamily="2" charset="0"/>
              </a:defRPr>
            </a:lvl4pPr>
            <a:lvl5pPr>
              <a:defRPr sz="1400">
                <a:solidFill>
                  <a:srgbClr val="595959"/>
                </a:solidFill>
                <a:latin typeface="Frutiger 45 Light" pitchFamily="2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0E8BB916-CDFC-439C-B0EF-513AE7B06AC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172201" y="1655302"/>
            <a:ext cx="5486398" cy="4351338"/>
          </a:xfrm>
        </p:spPr>
        <p:txBody>
          <a:bodyPr/>
          <a:lstStyle>
            <a:lvl1pPr>
              <a:defRPr lang="en-US" sz="2400" b="1" dirty="0" smtClean="0">
                <a:solidFill>
                  <a:srgbClr val="595959"/>
                </a:solidFill>
                <a:latin typeface="Frutiger 45 Light" pitchFamily="2" charset="0"/>
              </a:defRPr>
            </a:lvl1pPr>
            <a:lvl2pPr>
              <a:defRPr sz="2000">
                <a:solidFill>
                  <a:srgbClr val="595959"/>
                </a:solidFill>
                <a:latin typeface="Frutiger 45 Light" pitchFamily="2" charset="0"/>
              </a:defRPr>
            </a:lvl2pPr>
            <a:lvl3pPr>
              <a:defRPr sz="1800">
                <a:solidFill>
                  <a:srgbClr val="595959"/>
                </a:solidFill>
                <a:latin typeface="Frutiger 45 Light" pitchFamily="2" charset="0"/>
              </a:defRPr>
            </a:lvl3pPr>
            <a:lvl4pPr>
              <a:defRPr sz="1400">
                <a:solidFill>
                  <a:srgbClr val="595959"/>
                </a:solidFill>
                <a:latin typeface="Frutiger 45 Light" pitchFamily="2" charset="0"/>
              </a:defRPr>
            </a:lvl4pPr>
            <a:lvl5pPr>
              <a:defRPr sz="1400">
                <a:solidFill>
                  <a:srgbClr val="595959"/>
                </a:solidFill>
                <a:latin typeface="Frutiger 45 Light" pitchFamily="2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78651CBE-E342-762C-71AB-7A346C0BD1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45 bold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35093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2C5284-5FF2-B05D-8F8D-FFD8E16B89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048244-68FD-5C2E-FA09-16D54FEB3A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2B2E16-7AA0-532C-00A7-4AE16F57B5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3EE646-270C-4CAA-AA95-B0F10CA605F1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B2C5168-38C9-CD7D-8122-FB78A2A48C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5600" y="1006474"/>
            <a:ext cx="11480798" cy="50488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6D6D6D"/>
                </a:solidFill>
              </a:defRPr>
            </a:lvl1pPr>
            <a:lvl2pPr>
              <a:defRPr>
                <a:solidFill>
                  <a:srgbClr val="6D6D6D"/>
                </a:solidFill>
              </a:defRPr>
            </a:lvl2pPr>
            <a:lvl3pPr>
              <a:defRPr>
                <a:solidFill>
                  <a:srgbClr val="6D6D6D"/>
                </a:solidFill>
              </a:defRPr>
            </a:lvl3pPr>
            <a:lvl4pPr>
              <a:defRPr>
                <a:solidFill>
                  <a:srgbClr val="6D6D6D"/>
                </a:solidFill>
              </a:defRPr>
            </a:lvl4pPr>
            <a:lvl5pPr>
              <a:defRPr>
                <a:solidFill>
                  <a:srgbClr val="6D6D6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184540A-011B-D9A9-3F51-021BB7CF0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600" y="182053"/>
            <a:ext cx="11480798" cy="5862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155D7D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537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F15CF78B-9157-46AD-8295-FCA03E9CC3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5680"/>
            <a:ext cx="10972800" cy="639763"/>
          </a:xfrm>
          <a:prstGeom prst="rect">
            <a:avLst/>
          </a:prstGeom>
        </p:spPr>
        <p:txBody>
          <a:bodyPr vert="horz" lIns="324000" tIns="144000" rIns="0" bIns="45720" rtlCol="0" anchor="ctr">
            <a:norm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363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9C8C2DA-AE5A-72B0-9AED-CFA54E6B7EBC}"/>
              </a:ext>
            </a:extLst>
          </p:cNvPr>
          <p:cNvSpPr/>
          <p:nvPr userDrawn="1"/>
        </p:nvSpPr>
        <p:spPr>
          <a:xfrm flipH="1">
            <a:off x="5834065" y="6802077"/>
            <a:ext cx="6357937" cy="59099"/>
          </a:xfrm>
          <a:custGeom>
            <a:avLst/>
            <a:gdLst>
              <a:gd name="connsiteX0" fmla="*/ 0 w 6896100"/>
              <a:gd name="connsiteY0" fmla="*/ 0 h 139700"/>
              <a:gd name="connsiteX1" fmla="*/ 6896100 w 6896100"/>
              <a:gd name="connsiteY1" fmla="*/ 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896100"/>
              <a:gd name="connsiteY0" fmla="*/ 0 h 139700"/>
              <a:gd name="connsiteX1" fmla="*/ 6146800 w 6896100"/>
              <a:gd name="connsiteY1" fmla="*/ 635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416675"/>
              <a:gd name="connsiteY0" fmla="*/ 0 h 139700"/>
              <a:gd name="connsiteX1" fmla="*/ 6146800 w 6416675"/>
              <a:gd name="connsiteY1" fmla="*/ 6350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416675"/>
              <a:gd name="connsiteY0" fmla="*/ 0 h 139700"/>
              <a:gd name="connsiteX1" fmla="*/ 6173788 w 6416675"/>
              <a:gd name="connsiteY1" fmla="*/ 3175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357937"/>
              <a:gd name="connsiteY0" fmla="*/ 0 h 139700"/>
              <a:gd name="connsiteX1" fmla="*/ 61737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0 h 139700"/>
              <a:gd name="connsiteX1" fmla="*/ 61864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13259 h 152959"/>
              <a:gd name="connsiteX1" fmla="*/ 6265863 w 6357937"/>
              <a:gd name="connsiteY1" fmla="*/ 0 h 152959"/>
              <a:gd name="connsiteX2" fmla="*/ 6357937 w 6357937"/>
              <a:gd name="connsiteY2" fmla="*/ 148196 h 152959"/>
              <a:gd name="connsiteX3" fmla="*/ 0 w 6357937"/>
              <a:gd name="connsiteY3" fmla="*/ 152959 h 152959"/>
              <a:gd name="connsiteX4" fmla="*/ 0 w 6357937"/>
              <a:gd name="connsiteY4" fmla="*/ 13259 h 152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7937" h="152959">
                <a:moveTo>
                  <a:pt x="0" y="13259"/>
                </a:moveTo>
                <a:lnTo>
                  <a:pt x="6265863" y="0"/>
                </a:lnTo>
                <a:lnTo>
                  <a:pt x="6357937" y="148196"/>
                </a:lnTo>
                <a:lnTo>
                  <a:pt x="0" y="152959"/>
                </a:lnTo>
                <a:lnTo>
                  <a:pt x="0" y="13259"/>
                </a:lnTo>
                <a:close/>
              </a:path>
            </a:pathLst>
          </a:custGeom>
          <a:solidFill>
            <a:srgbClr val="00A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38AC27-3E6A-41FF-A9B6-59EC0BE0E7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" y="2"/>
            <a:ext cx="12191984" cy="6857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10872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9C8C2DA-AE5A-72B0-9AED-CFA54E6B7EBC}"/>
              </a:ext>
            </a:extLst>
          </p:cNvPr>
          <p:cNvSpPr/>
          <p:nvPr userDrawn="1"/>
        </p:nvSpPr>
        <p:spPr>
          <a:xfrm flipH="1">
            <a:off x="5834065" y="6802077"/>
            <a:ext cx="6357937" cy="59099"/>
          </a:xfrm>
          <a:custGeom>
            <a:avLst/>
            <a:gdLst>
              <a:gd name="connsiteX0" fmla="*/ 0 w 6896100"/>
              <a:gd name="connsiteY0" fmla="*/ 0 h 139700"/>
              <a:gd name="connsiteX1" fmla="*/ 6896100 w 6896100"/>
              <a:gd name="connsiteY1" fmla="*/ 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896100"/>
              <a:gd name="connsiteY0" fmla="*/ 0 h 139700"/>
              <a:gd name="connsiteX1" fmla="*/ 6146800 w 6896100"/>
              <a:gd name="connsiteY1" fmla="*/ 635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416675"/>
              <a:gd name="connsiteY0" fmla="*/ 0 h 139700"/>
              <a:gd name="connsiteX1" fmla="*/ 6146800 w 6416675"/>
              <a:gd name="connsiteY1" fmla="*/ 6350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416675"/>
              <a:gd name="connsiteY0" fmla="*/ 0 h 139700"/>
              <a:gd name="connsiteX1" fmla="*/ 6173788 w 6416675"/>
              <a:gd name="connsiteY1" fmla="*/ 3175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357937"/>
              <a:gd name="connsiteY0" fmla="*/ 0 h 139700"/>
              <a:gd name="connsiteX1" fmla="*/ 61737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0 h 139700"/>
              <a:gd name="connsiteX1" fmla="*/ 61864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13259 h 152959"/>
              <a:gd name="connsiteX1" fmla="*/ 6265863 w 6357937"/>
              <a:gd name="connsiteY1" fmla="*/ 0 h 152959"/>
              <a:gd name="connsiteX2" fmla="*/ 6357937 w 6357937"/>
              <a:gd name="connsiteY2" fmla="*/ 148196 h 152959"/>
              <a:gd name="connsiteX3" fmla="*/ 0 w 6357937"/>
              <a:gd name="connsiteY3" fmla="*/ 152959 h 152959"/>
              <a:gd name="connsiteX4" fmla="*/ 0 w 6357937"/>
              <a:gd name="connsiteY4" fmla="*/ 13259 h 152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7937" h="152959">
                <a:moveTo>
                  <a:pt x="0" y="13259"/>
                </a:moveTo>
                <a:lnTo>
                  <a:pt x="6265863" y="0"/>
                </a:lnTo>
                <a:lnTo>
                  <a:pt x="6357937" y="148196"/>
                </a:lnTo>
                <a:lnTo>
                  <a:pt x="0" y="152959"/>
                </a:lnTo>
                <a:lnTo>
                  <a:pt x="0" y="13259"/>
                </a:lnTo>
                <a:close/>
              </a:path>
            </a:pathLst>
          </a:custGeom>
          <a:solidFill>
            <a:srgbClr val="00A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38AC27-3E6A-41FF-A9B6-59EC0BE0E7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" y="2"/>
            <a:ext cx="12191984" cy="6857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14057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" y="10"/>
            <a:ext cx="12191984" cy="685799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E7ABF328-B867-8C1C-8BB6-85FA1EF20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1953" y="1459963"/>
            <a:ext cx="2775991" cy="6397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defRPr sz="3200" b="1">
                <a:solidFill>
                  <a:schemeClr val="tx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en-US"/>
              <a:t>Separator Slide</a:t>
            </a:r>
          </a:p>
        </p:txBody>
      </p:sp>
    </p:spTree>
    <p:extLst>
      <p:ext uri="{BB962C8B-B14F-4D97-AF65-F5344CB8AC3E}">
        <p14:creationId xmlns:p14="http://schemas.microsoft.com/office/powerpoint/2010/main" val="33054913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E47A04F0-E3CD-8783-11BD-BC94E5B4B5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6082" y="269177"/>
            <a:ext cx="11201399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2800" b="1" kern="120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84428191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/>
        </p:nvSpPr>
        <p:spPr>
          <a:xfrm>
            <a:off x="4115009" y="6437465"/>
            <a:ext cx="3945465" cy="260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104" rtl="0" eaLnBrk="1" fontAlgn="base" latinLnBrk="0" hangingPunct="1">
              <a:lnSpc>
                <a:spcPct val="10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t>©LTIMindtree | Privileged and Confidential 2024</a:t>
            </a:r>
            <a:endParaRPr kumimoji="0" lang="en-IN" sz="1067" b="0" i="0" u="none" strike="noStrike" kern="1200" cap="none" spc="0" normalizeH="0" baseline="0" noProof="0" dirty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sp>
        <p:nvSpPr>
          <p:cNvPr id="15" name="Rectangle 83">
            <a:extLst>
              <a:ext uri="{FF2B5EF4-FFF2-40B4-BE49-F238E27FC236}">
                <a16:creationId xmlns:a16="http://schemas.microsoft.com/office/drawing/2014/main" id="{02F8F602-2C28-40AF-834B-AF1F39AA5D6B}"/>
              </a:ext>
            </a:extLst>
          </p:cNvPr>
          <p:cNvSpPr>
            <a:spLocks noGrp="1" noChangeArrowheads="1"/>
          </p:cNvSpPr>
          <p:nvPr userDrawn="1">
            <p:ph type="title" hasCustomPrompt="1"/>
          </p:nvPr>
        </p:nvSpPr>
        <p:spPr bwMode="gray">
          <a:xfrm>
            <a:off x="595087" y="408551"/>
            <a:ext cx="10515600" cy="34169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>
              <a:defRPr lang="en-US" sz="2467" b="1">
                <a:solidFill>
                  <a:srgbClr val="303030"/>
                </a:solidFill>
                <a:latin typeface="Frutiger 45 Light"/>
              </a:defRPr>
            </a:lvl1pPr>
          </a:lstStyle>
          <a:p>
            <a:pPr lvl="0" defTabSz="914377"/>
            <a:r>
              <a:rPr lang="en-US"/>
              <a:t>Click to edit Master title style</a:t>
            </a:r>
          </a:p>
        </p:txBody>
      </p:sp>
      <p:sp>
        <p:nvSpPr>
          <p:cNvPr id="23" name="object 5">
            <a:extLst>
              <a:ext uri="{FF2B5EF4-FFF2-40B4-BE49-F238E27FC236}">
                <a16:creationId xmlns:a16="http://schemas.microsoft.com/office/drawing/2014/main" id="{483C1A0F-2443-4124-AE9A-C0981BD0503D}"/>
              </a:ext>
            </a:extLst>
          </p:cNvPr>
          <p:cNvSpPr/>
          <p:nvPr userDrawn="1"/>
        </p:nvSpPr>
        <p:spPr>
          <a:xfrm rot="16200000">
            <a:off x="163513" y="465099"/>
            <a:ext cx="320040" cy="228600"/>
          </a:xfrm>
          <a:custGeom>
            <a:avLst/>
            <a:gdLst/>
            <a:ahLst/>
            <a:cxnLst/>
            <a:rect l="l" t="t" r="r" b="b"/>
            <a:pathLst>
              <a:path w="670560" h="332740">
                <a:moveTo>
                  <a:pt x="317309" y="253822"/>
                </a:moveTo>
                <a:lnTo>
                  <a:pt x="0" y="123545"/>
                </a:lnTo>
                <a:lnTo>
                  <a:pt x="0" y="202158"/>
                </a:lnTo>
                <a:lnTo>
                  <a:pt x="317309" y="332435"/>
                </a:lnTo>
                <a:lnTo>
                  <a:pt x="317309" y="253822"/>
                </a:lnTo>
                <a:close/>
              </a:path>
              <a:path w="670560" h="332740">
                <a:moveTo>
                  <a:pt x="670229" y="123545"/>
                </a:moveTo>
                <a:lnTo>
                  <a:pt x="352920" y="253796"/>
                </a:lnTo>
                <a:lnTo>
                  <a:pt x="352920" y="332409"/>
                </a:lnTo>
                <a:lnTo>
                  <a:pt x="670229" y="202158"/>
                </a:lnTo>
                <a:lnTo>
                  <a:pt x="670229" y="123545"/>
                </a:lnTo>
                <a:close/>
              </a:path>
              <a:path w="670560" h="332740">
                <a:moveTo>
                  <a:pt x="670229" y="0"/>
                </a:moveTo>
                <a:lnTo>
                  <a:pt x="335089" y="137566"/>
                </a:lnTo>
                <a:lnTo>
                  <a:pt x="0" y="0"/>
                </a:lnTo>
                <a:lnTo>
                  <a:pt x="0" y="78613"/>
                </a:lnTo>
                <a:lnTo>
                  <a:pt x="335076" y="216179"/>
                </a:lnTo>
                <a:lnTo>
                  <a:pt x="670229" y="78613"/>
                </a:lnTo>
                <a:lnTo>
                  <a:pt x="670229" y="0"/>
                </a:lnTo>
                <a:close/>
              </a:path>
            </a:pathLst>
          </a:custGeom>
          <a:solidFill>
            <a:srgbClr val="DF1424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FFAD8EF-D3D1-6E76-3233-0A1FFD924281}"/>
              </a:ext>
            </a:extLst>
          </p:cNvPr>
          <p:cNvSpPr/>
          <p:nvPr userDrawn="1"/>
        </p:nvSpPr>
        <p:spPr>
          <a:xfrm>
            <a:off x="11784647" y="6544319"/>
            <a:ext cx="351287" cy="2616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60934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5957C0-C9FD-924F-A662-3B71DAE40C56}" type="slidenum">
              <a:rPr kumimoji="0" lang="uk-UA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Calibri Light"/>
              </a:rPr>
              <a:pPr marL="0" marR="0" lvl="0" indent="0" algn="ctr" defTabSz="60934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Calibri Ligh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3549482-81BE-6E8B-480B-09DB683CA12E}"/>
              </a:ext>
            </a:extLst>
          </p:cNvPr>
          <p:cNvGrpSpPr/>
          <p:nvPr userDrawn="1"/>
        </p:nvGrpSpPr>
        <p:grpSpPr>
          <a:xfrm>
            <a:off x="-1359363" y="0"/>
            <a:ext cx="628488" cy="3585632"/>
            <a:chOff x="-1738926" y="394394"/>
            <a:chExt cx="1169582" cy="3585632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7EE9E9D-7534-E222-E400-7F123AD32CF6}"/>
                </a:ext>
              </a:extLst>
            </p:cNvPr>
            <p:cNvSpPr txBox="1"/>
            <p:nvPr/>
          </p:nvSpPr>
          <p:spPr>
            <a:xfrm>
              <a:off x="-1738926" y="394394"/>
              <a:ext cx="1169582" cy="634770"/>
            </a:xfrm>
            <a:prstGeom prst="rect">
              <a:avLst/>
            </a:prstGeom>
            <a:solidFill>
              <a:srgbClr val="002060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/>
            <a:p>
              <a:pPr marL="171446" marR="0" lvl="0" indent="-171446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0B0845B-58EA-42A9-3C00-94B50ADBD1CE}"/>
                </a:ext>
              </a:extLst>
            </p:cNvPr>
            <p:cNvSpPr txBox="1"/>
            <p:nvPr/>
          </p:nvSpPr>
          <p:spPr>
            <a:xfrm>
              <a:off x="-1738926" y="1132109"/>
              <a:ext cx="1169582" cy="634770"/>
            </a:xfrm>
            <a:prstGeom prst="rect">
              <a:avLst/>
            </a:prstGeom>
            <a:solidFill>
              <a:srgbClr val="0070C0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solidFill>
                    <a:schemeClr val="bg1"/>
                  </a:solidFill>
                  <a:cs typeface="Calibri" panose="020F0502020204030204" pitchFamily="34" charset="0"/>
                </a:defRPr>
              </a:lvl1pPr>
            </a:lstStyle>
            <a:p>
              <a:pPr marL="171450" marR="0" lvl="0" indent="-1714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0F16ADB-582F-D508-B6B0-920BF7AEAA28}"/>
                </a:ext>
              </a:extLst>
            </p:cNvPr>
            <p:cNvSpPr txBox="1"/>
            <p:nvPr/>
          </p:nvSpPr>
          <p:spPr>
            <a:xfrm>
              <a:off x="-1738926" y="1869825"/>
              <a:ext cx="1169582" cy="634770"/>
            </a:xfrm>
            <a:prstGeom prst="rect">
              <a:avLst/>
            </a:prstGeom>
            <a:solidFill>
              <a:srgbClr val="E6192F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cs typeface="Calibri" panose="020F0502020204030204" pitchFamily="34" charset="0"/>
                </a:defRPr>
              </a:lvl1pPr>
            </a:lstStyle>
            <a:p>
              <a:pPr marL="171450" marR="0" lvl="0" indent="-1714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B51F339-C9BC-CF57-B18F-3071ED85DBFE}"/>
                </a:ext>
              </a:extLst>
            </p:cNvPr>
            <p:cNvSpPr txBox="1"/>
            <p:nvPr/>
          </p:nvSpPr>
          <p:spPr>
            <a:xfrm>
              <a:off x="-1738926" y="2607541"/>
              <a:ext cx="1169582" cy="634770"/>
            </a:xfrm>
            <a:prstGeom prst="rect">
              <a:avLst/>
            </a:prstGeom>
            <a:solidFill>
              <a:srgbClr val="00B0F0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cs typeface="Calibri" panose="020F0502020204030204" pitchFamily="34" charset="0"/>
                </a:defRPr>
              </a:lvl1pPr>
            </a:lstStyle>
            <a:p>
              <a:pPr marL="171450" marR="0" lvl="0" indent="-1714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345FC80-96B1-2997-45BC-B41E7A5529DF}"/>
                </a:ext>
              </a:extLst>
            </p:cNvPr>
            <p:cNvSpPr txBox="1"/>
            <p:nvPr/>
          </p:nvSpPr>
          <p:spPr>
            <a:xfrm>
              <a:off x="-1738926" y="3345256"/>
              <a:ext cx="1169582" cy="63477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cs typeface="Calibri" panose="020F0502020204030204" pitchFamily="34" charset="0"/>
                </a:defRPr>
              </a:lvl1pPr>
            </a:lstStyle>
            <a:p>
              <a:pPr marL="171450" marR="0" lvl="0" indent="-1714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</p:grpSp>
      <p:pic>
        <p:nvPicPr>
          <p:cNvPr id="2" name="Picture 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23B0646D-B093-9231-13EA-BCD364CDB1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1116" y="6382898"/>
            <a:ext cx="1964267" cy="43917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853F2B1-BC86-4014-5D86-D92F540EAE06}"/>
              </a:ext>
            </a:extLst>
          </p:cNvPr>
          <p:cNvSpPr/>
          <p:nvPr userDrawn="1"/>
        </p:nvSpPr>
        <p:spPr>
          <a:xfrm>
            <a:off x="1639615" y="6382897"/>
            <a:ext cx="809296" cy="423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849587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número de diapositiva 5">
            <a:extLst>
              <a:ext uri="{FF2B5EF4-FFF2-40B4-BE49-F238E27FC236}">
                <a16:creationId xmlns:a16="http://schemas.microsoft.com/office/drawing/2014/main" id="{3BA9357F-11E9-B623-DB32-AA16F0336D11}"/>
              </a:ext>
            </a:extLst>
          </p:cNvPr>
          <p:cNvSpPr txBox="1">
            <a:spLocks/>
          </p:cNvSpPr>
          <p:nvPr userDrawn="1"/>
        </p:nvSpPr>
        <p:spPr>
          <a:xfrm>
            <a:off x="11221093" y="6437871"/>
            <a:ext cx="828095" cy="324139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439014-E629-42E3-A58B-61A0F1C8CFF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rutiger 45 Light" pitchFamily="2" charset="0"/>
                <a:ea typeface="+mn-ea"/>
                <a:cs typeface="Calibri" panose="020F05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Frutiger 45 Light" pitchFamily="2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4DCCD2-E9DA-CB5C-BF93-44D82B68C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439" y="277576"/>
            <a:ext cx="11485124" cy="360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1"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F1FCC90-A1E8-5702-8E79-16A6D14B80B3}"/>
              </a:ext>
            </a:extLst>
          </p:cNvPr>
          <p:cNvSpPr/>
          <p:nvPr userDrawn="1"/>
        </p:nvSpPr>
        <p:spPr>
          <a:xfrm>
            <a:off x="1" y="2222500"/>
            <a:ext cx="88900" cy="3835400"/>
          </a:xfrm>
          <a:prstGeom prst="rect">
            <a:avLst/>
          </a:prstGeom>
          <a:solidFill>
            <a:srgbClr val="E61E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E8F0840-3DF2-CC68-0909-DB09F2FAAC45}"/>
              </a:ext>
            </a:extLst>
          </p:cNvPr>
          <p:cNvSpPr/>
          <p:nvPr userDrawn="1"/>
        </p:nvSpPr>
        <p:spPr>
          <a:xfrm>
            <a:off x="12103101" y="380859"/>
            <a:ext cx="88900" cy="2619631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8867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64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5">
            <a:extLst>
              <a:ext uri="{FF2B5EF4-FFF2-40B4-BE49-F238E27FC236}">
                <a16:creationId xmlns:a16="http://schemas.microsoft.com/office/drawing/2014/main" id="{88F87DCB-9C97-7BB3-AA94-97494D5C0577}"/>
              </a:ext>
            </a:extLst>
          </p:cNvPr>
          <p:cNvSpPr/>
          <p:nvPr userDrawn="1"/>
        </p:nvSpPr>
        <p:spPr>
          <a:xfrm>
            <a:off x="0" y="199508"/>
            <a:ext cx="149627" cy="423949"/>
          </a:xfrm>
          <a:custGeom>
            <a:avLst/>
            <a:gdLst>
              <a:gd name="connsiteX0" fmla="*/ 0 w 249382"/>
              <a:gd name="connsiteY0" fmla="*/ 0 h 423949"/>
              <a:gd name="connsiteX1" fmla="*/ 249382 w 249382"/>
              <a:gd name="connsiteY1" fmla="*/ 0 h 423949"/>
              <a:gd name="connsiteX2" fmla="*/ 249382 w 249382"/>
              <a:gd name="connsiteY2" fmla="*/ 423949 h 423949"/>
              <a:gd name="connsiteX3" fmla="*/ 0 w 249382"/>
              <a:gd name="connsiteY3" fmla="*/ 423949 h 423949"/>
              <a:gd name="connsiteX4" fmla="*/ 0 w 249382"/>
              <a:gd name="connsiteY4" fmla="*/ 0 h 423949"/>
              <a:gd name="connsiteX0" fmla="*/ 0 w 249382"/>
              <a:gd name="connsiteY0" fmla="*/ 0 h 423949"/>
              <a:gd name="connsiteX1" fmla="*/ 249382 w 249382"/>
              <a:gd name="connsiteY1" fmla="*/ 0 h 423949"/>
              <a:gd name="connsiteX2" fmla="*/ 249382 w 249382"/>
              <a:gd name="connsiteY2" fmla="*/ 423949 h 423949"/>
              <a:gd name="connsiteX3" fmla="*/ 0 w 249382"/>
              <a:gd name="connsiteY3" fmla="*/ 423949 h 423949"/>
              <a:gd name="connsiteX4" fmla="*/ 91440 w 249382"/>
              <a:gd name="connsiteY4" fmla="*/ 91440 h 423949"/>
              <a:gd name="connsiteX0" fmla="*/ 33251 w 282633"/>
              <a:gd name="connsiteY0" fmla="*/ 0 h 423949"/>
              <a:gd name="connsiteX1" fmla="*/ 282633 w 282633"/>
              <a:gd name="connsiteY1" fmla="*/ 0 h 423949"/>
              <a:gd name="connsiteX2" fmla="*/ 282633 w 282633"/>
              <a:gd name="connsiteY2" fmla="*/ 423949 h 423949"/>
              <a:gd name="connsiteX3" fmla="*/ 33251 w 282633"/>
              <a:gd name="connsiteY3" fmla="*/ 423949 h 423949"/>
              <a:gd name="connsiteX4" fmla="*/ 0 w 282633"/>
              <a:gd name="connsiteY4" fmla="*/ 307571 h 423949"/>
              <a:gd name="connsiteX0" fmla="*/ 0 w 249382"/>
              <a:gd name="connsiteY0" fmla="*/ 0 h 423949"/>
              <a:gd name="connsiteX1" fmla="*/ 249382 w 249382"/>
              <a:gd name="connsiteY1" fmla="*/ 0 h 423949"/>
              <a:gd name="connsiteX2" fmla="*/ 249382 w 249382"/>
              <a:gd name="connsiteY2" fmla="*/ 423949 h 423949"/>
              <a:gd name="connsiteX3" fmla="*/ 0 w 249382"/>
              <a:gd name="connsiteY3" fmla="*/ 423949 h 423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382" h="423949">
                <a:moveTo>
                  <a:pt x="0" y="0"/>
                </a:moveTo>
                <a:lnTo>
                  <a:pt x="249382" y="0"/>
                </a:lnTo>
                <a:lnTo>
                  <a:pt x="249382" y="423949"/>
                </a:lnTo>
                <a:lnTo>
                  <a:pt x="0" y="423949"/>
                </a:lnTo>
              </a:path>
            </a:pathLst>
          </a:custGeom>
          <a:noFill/>
          <a:ln w="76200">
            <a:solidFill>
              <a:srgbClr val="0058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DE87A9D7-9876-DA47-25E6-C254B490E1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933729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  <p15:guide id="2" pos="336">
          <p15:clr>
            <a:srgbClr val="FBAE40"/>
          </p15:clr>
        </p15:guide>
        <p15:guide id="3" orient="horz" pos="288">
          <p15:clr>
            <a:srgbClr val="FBAE40"/>
          </p15:clr>
        </p15:guide>
        <p15:guide id="4" pos="7344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F8F8F8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CE03DCE-30C9-F426-C00F-B9F460DC72B9}"/>
              </a:ext>
            </a:extLst>
          </p:cNvPr>
          <p:cNvSpPr/>
          <p:nvPr userDrawn="1"/>
        </p:nvSpPr>
        <p:spPr>
          <a:xfrm>
            <a:off x="11818060" y="6546057"/>
            <a:ext cx="373013" cy="31194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4C22D51-73B5-F05B-D4A5-8E57C78EC35B}"/>
              </a:ext>
            </a:extLst>
          </p:cNvPr>
          <p:cNvSpPr txBox="1"/>
          <p:nvPr userDrawn="1"/>
        </p:nvSpPr>
        <p:spPr>
          <a:xfrm>
            <a:off x="11818059" y="6596391"/>
            <a:ext cx="373015" cy="215444"/>
          </a:xfrm>
          <a:prstGeom prst="rect">
            <a:avLst/>
          </a:prstGeom>
          <a:solidFill>
            <a:srgbClr val="FF0000"/>
          </a:solidFill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0E2A6B-A809-4840-BF14-8648BC0BDF87}" type="slidenum">
              <a:rPr kumimoji="0" lang="id-ID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Open Sans Semibold" panose="020B0706030804020204" pitchFamily="34" charset="0"/>
                <a:cs typeface="Calibri" panose="020F050202020403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id-ID" sz="93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Open Sans Semibold" panose="020B0706030804020204" pitchFamily="34" charset="0"/>
              <a:cs typeface="Calibri" panose="020F050202020403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94DE892-AC52-4750-88C7-B13F17F4295A}"/>
              </a:ext>
            </a:extLst>
          </p:cNvPr>
          <p:cNvCxnSpPr>
            <a:cxnSpLocks/>
          </p:cNvCxnSpPr>
          <p:nvPr userDrawn="1"/>
        </p:nvCxnSpPr>
        <p:spPr>
          <a:xfrm>
            <a:off x="0" y="399755"/>
            <a:ext cx="406400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45DCF73F-AAE0-43DE-9487-63B1CA5D3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927" y="171155"/>
            <a:ext cx="11338560" cy="45720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 kumimoji="0" lang="en-US" sz="2400" b="1" i="0" u="none" strike="noStrike" kern="0" cap="none" spc="0" normalizeH="0" baseline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8640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704641-62E4-4217-A4FB-1461DCB349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399" y="1436914"/>
            <a:ext cx="5533119" cy="1068161"/>
          </a:xfrm>
        </p:spPr>
        <p:txBody>
          <a:bodyPr anchor="b">
            <a:noAutofit/>
          </a:bodyPr>
          <a:lstStyle>
            <a:lvl1pPr marL="0" indent="0">
              <a:buNone/>
              <a:defRPr lang="en-US" sz="2400" b="1" kern="1200" dirty="0">
                <a:solidFill>
                  <a:srgbClr val="595959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BF8DFE-7699-41E5-ACEB-81719A7EB98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41141" y="1436914"/>
            <a:ext cx="5417458" cy="1068161"/>
          </a:xfrm>
        </p:spPr>
        <p:txBody>
          <a:bodyPr anchor="b">
            <a:noAutofit/>
          </a:bodyPr>
          <a:lstStyle>
            <a:lvl1pPr marL="0" indent="0">
              <a:buNone/>
              <a:defRPr lang="en-US" sz="2400" b="1" kern="1200" dirty="0">
                <a:solidFill>
                  <a:srgbClr val="595959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F54FF91B-5FE4-409D-BA7F-37376CD5E4A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3399" y="2651506"/>
            <a:ext cx="5533119" cy="3432302"/>
          </a:xfrm>
        </p:spPr>
        <p:txBody>
          <a:bodyPr/>
          <a:lstStyle>
            <a:lvl1pPr>
              <a:defRPr lang="en-US" sz="2400" b="1" dirty="0" smtClean="0">
                <a:solidFill>
                  <a:srgbClr val="595959"/>
                </a:solidFill>
                <a:latin typeface="Frutiger 45 Light" pitchFamily="2" charset="0"/>
              </a:defRPr>
            </a:lvl1pPr>
            <a:lvl2pPr>
              <a:defRPr sz="2000">
                <a:solidFill>
                  <a:srgbClr val="595959"/>
                </a:solidFill>
                <a:latin typeface="Frutiger 45 Light" pitchFamily="2" charset="0"/>
              </a:defRPr>
            </a:lvl2pPr>
            <a:lvl3pPr>
              <a:defRPr sz="1800">
                <a:solidFill>
                  <a:srgbClr val="595959"/>
                </a:solidFill>
                <a:latin typeface="Frutiger 45 Light" pitchFamily="2" charset="0"/>
              </a:defRPr>
            </a:lvl3pPr>
            <a:lvl4pPr>
              <a:defRPr sz="1400">
                <a:solidFill>
                  <a:srgbClr val="595959"/>
                </a:solidFill>
                <a:latin typeface="Frutiger 45 Light" pitchFamily="2" charset="0"/>
              </a:defRPr>
            </a:lvl4pPr>
            <a:lvl5pPr>
              <a:defRPr sz="1400">
                <a:solidFill>
                  <a:srgbClr val="595959"/>
                </a:solidFill>
                <a:latin typeface="Frutiger 45 Light" pitchFamily="2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FDB344D-832A-4E14-93A2-EF0879A2EDA0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41141" y="2663457"/>
            <a:ext cx="5417458" cy="3432302"/>
          </a:xfrm>
        </p:spPr>
        <p:txBody>
          <a:bodyPr/>
          <a:lstStyle>
            <a:lvl1pPr>
              <a:defRPr lang="en-US" sz="2400" b="1" dirty="0" smtClean="0">
                <a:solidFill>
                  <a:srgbClr val="595959"/>
                </a:solidFill>
                <a:latin typeface="Frutiger 45 Light" pitchFamily="2" charset="0"/>
              </a:defRPr>
            </a:lvl1pPr>
            <a:lvl2pPr>
              <a:defRPr sz="2000">
                <a:solidFill>
                  <a:srgbClr val="595959"/>
                </a:solidFill>
                <a:latin typeface="Frutiger 45 Light" pitchFamily="2" charset="0"/>
              </a:defRPr>
            </a:lvl2pPr>
            <a:lvl3pPr>
              <a:defRPr sz="1800">
                <a:solidFill>
                  <a:srgbClr val="595959"/>
                </a:solidFill>
                <a:latin typeface="Frutiger 45 Light" pitchFamily="2" charset="0"/>
              </a:defRPr>
            </a:lvl3pPr>
            <a:lvl4pPr>
              <a:defRPr sz="1400">
                <a:solidFill>
                  <a:srgbClr val="595959"/>
                </a:solidFill>
                <a:latin typeface="Frutiger 45 Light" pitchFamily="2" charset="0"/>
              </a:defRPr>
            </a:lvl4pPr>
            <a:lvl5pPr>
              <a:defRPr sz="1400">
                <a:solidFill>
                  <a:srgbClr val="595959"/>
                </a:solidFill>
                <a:latin typeface="Frutiger 45 Light" pitchFamily="2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EF8A07F5-F0F3-56A0-B462-8A048CE69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45 bold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40692042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184540A-011B-D9A9-3F51-021BB7CF0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724" y="143953"/>
            <a:ext cx="11942275" cy="43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b="1" kern="1200" dirty="0">
                <a:solidFill>
                  <a:srgbClr val="2850A3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FE8D8C8-F5A6-BB9D-5415-E305C4B11A03}"/>
              </a:ext>
            </a:extLst>
          </p:cNvPr>
          <p:cNvSpPr/>
          <p:nvPr userDrawn="1"/>
        </p:nvSpPr>
        <p:spPr>
          <a:xfrm>
            <a:off x="0" y="143953"/>
            <a:ext cx="101600" cy="432000"/>
          </a:xfrm>
          <a:prstGeom prst="rect">
            <a:avLst/>
          </a:prstGeom>
          <a:solidFill>
            <a:srgbClr val="EA1939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3564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0102D0F-157A-1052-F873-B3A9138043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722" y="469835"/>
            <a:ext cx="11130552" cy="332399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2400" b="1">
                <a:solidFill>
                  <a:schemeClr val="accent2">
                    <a:lumMod val="50000"/>
                  </a:schemeClr>
                </a:solidFill>
                <a:ea typeface="+mn-ea"/>
              </a:defRPr>
            </a:lvl1pPr>
          </a:lstStyle>
          <a:p>
            <a:pPr marL="0" lvl="0" indent="0">
              <a:spcBef>
                <a:spcPts val="1000"/>
              </a:spcBef>
              <a:buFontTx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509629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EDF1CA-D0D8-F54A-A2BD-04F2B155F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395" y="215067"/>
            <a:ext cx="10885714" cy="45783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800">
                <a:solidFill>
                  <a:srgbClr val="51515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246321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9C8C2DA-AE5A-72B0-9AED-CFA54E6B7EBC}"/>
              </a:ext>
            </a:extLst>
          </p:cNvPr>
          <p:cNvSpPr/>
          <p:nvPr userDrawn="1"/>
        </p:nvSpPr>
        <p:spPr>
          <a:xfrm flipH="1">
            <a:off x="5834065" y="6802077"/>
            <a:ext cx="6357937" cy="59099"/>
          </a:xfrm>
          <a:custGeom>
            <a:avLst/>
            <a:gdLst>
              <a:gd name="connsiteX0" fmla="*/ 0 w 6896100"/>
              <a:gd name="connsiteY0" fmla="*/ 0 h 139700"/>
              <a:gd name="connsiteX1" fmla="*/ 6896100 w 6896100"/>
              <a:gd name="connsiteY1" fmla="*/ 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896100"/>
              <a:gd name="connsiteY0" fmla="*/ 0 h 139700"/>
              <a:gd name="connsiteX1" fmla="*/ 6146800 w 6896100"/>
              <a:gd name="connsiteY1" fmla="*/ 635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416675"/>
              <a:gd name="connsiteY0" fmla="*/ 0 h 139700"/>
              <a:gd name="connsiteX1" fmla="*/ 6146800 w 6416675"/>
              <a:gd name="connsiteY1" fmla="*/ 6350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416675"/>
              <a:gd name="connsiteY0" fmla="*/ 0 h 139700"/>
              <a:gd name="connsiteX1" fmla="*/ 6173788 w 6416675"/>
              <a:gd name="connsiteY1" fmla="*/ 3175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357937"/>
              <a:gd name="connsiteY0" fmla="*/ 0 h 139700"/>
              <a:gd name="connsiteX1" fmla="*/ 61737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0 h 139700"/>
              <a:gd name="connsiteX1" fmla="*/ 61864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13259 h 152959"/>
              <a:gd name="connsiteX1" fmla="*/ 6265863 w 6357937"/>
              <a:gd name="connsiteY1" fmla="*/ 0 h 152959"/>
              <a:gd name="connsiteX2" fmla="*/ 6357937 w 6357937"/>
              <a:gd name="connsiteY2" fmla="*/ 148196 h 152959"/>
              <a:gd name="connsiteX3" fmla="*/ 0 w 6357937"/>
              <a:gd name="connsiteY3" fmla="*/ 152959 h 152959"/>
              <a:gd name="connsiteX4" fmla="*/ 0 w 6357937"/>
              <a:gd name="connsiteY4" fmla="*/ 13259 h 152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7937" h="152959">
                <a:moveTo>
                  <a:pt x="0" y="13259"/>
                </a:moveTo>
                <a:lnTo>
                  <a:pt x="6265863" y="0"/>
                </a:lnTo>
                <a:lnTo>
                  <a:pt x="6357937" y="148196"/>
                </a:lnTo>
                <a:lnTo>
                  <a:pt x="0" y="152959"/>
                </a:lnTo>
                <a:lnTo>
                  <a:pt x="0" y="13259"/>
                </a:lnTo>
                <a:close/>
              </a:path>
            </a:pathLst>
          </a:custGeom>
          <a:solidFill>
            <a:srgbClr val="00A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38AC27-3E6A-41FF-A9B6-59EC0BE0E7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" y="2"/>
            <a:ext cx="12191984" cy="6857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48614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9C8C2DA-AE5A-72B0-9AED-CFA54E6B7EBC}"/>
              </a:ext>
            </a:extLst>
          </p:cNvPr>
          <p:cNvSpPr/>
          <p:nvPr userDrawn="1"/>
        </p:nvSpPr>
        <p:spPr>
          <a:xfrm flipH="1">
            <a:off x="5834065" y="6802077"/>
            <a:ext cx="6357937" cy="59099"/>
          </a:xfrm>
          <a:custGeom>
            <a:avLst/>
            <a:gdLst>
              <a:gd name="connsiteX0" fmla="*/ 0 w 6896100"/>
              <a:gd name="connsiteY0" fmla="*/ 0 h 139700"/>
              <a:gd name="connsiteX1" fmla="*/ 6896100 w 6896100"/>
              <a:gd name="connsiteY1" fmla="*/ 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896100"/>
              <a:gd name="connsiteY0" fmla="*/ 0 h 139700"/>
              <a:gd name="connsiteX1" fmla="*/ 6146800 w 6896100"/>
              <a:gd name="connsiteY1" fmla="*/ 6350 h 139700"/>
              <a:gd name="connsiteX2" fmla="*/ 6896100 w 6896100"/>
              <a:gd name="connsiteY2" fmla="*/ 139700 h 139700"/>
              <a:gd name="connsiteX3" fmla="*/ 0 w 6896100"/>
              <a:gd name="connsiteY3" fmla="*/ 139700 h 139700"/>
              <a:gd name="connsiteX4" fmla="*/ 0 w 6896100"/>
              <a:gd name="connsiteY4" fmla="*/ 0 h 139700"/>
              <a:gd name="connsiteX0" fmla="*/ 0 w 6416675"/>
              <a:gd name="connsiteY0" fmla="*/ 0 h 139700"/>
              <a:gd name="connsiteX1" fmla="*/ 6146800 w 6416675"/>
              <a:gd name="connsiteY1" fmla="*/ 6350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416675"/>
              <a:gd name="connsiteY0" fmla="*/ 0 h 139700"/>
              <a:gd name="connsiteX1" fmla="*/ 6173788 w 6416675"/>
              <a:gd name="connsiteY1" fmla="*/ 3175 h 139700"/>
              <a:gd name="connsiteX2" fmla="*/ 6416675 w 6416675"/>
              <a:gd name="connsiteY2" fmla="*/ 136525 h 139700"/>
              <a:gd name="connsiteX3" fmla="*/ 0 w 6416675"/>
              <a:gd name="connsiteY3" fmla="*/ 139700 h 139700"/>
              <a:gd name="connsiteX4" fmla="*/ 0 w 6416675"/>
              <a:gd name="connsiteY4" fmla="*/ 0 h 139700"/>
              <a:gd name="connsiteX0" fmla="*/ 0 w 6357937"/>
              <a:gd name="connsiteY0" fmla="*/ 0 h 139700"/>
              <a:gd name="connsiteX1" fmla="*/ 61737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0 h 139700"/>
              <a:gd name="connsiteX1" fmla="*/ 6186488 w 6357937"/>
              <a:gd name="connsiteY1" fmla="*/ 3175 h 139700"/>
              <a:gd name="connsiteX2" fmla="*/ 6357937 w 6357937"/>
              <a:gd name="connsiteY2" fmla="*/ 134937 h 139700"/>
              <a:gd name="connsiteX3" fmla="*/ 0 w 6357937"/>
              <a:gd name="connsiteY3" fmla="*/ 139700 h 139700"/>
              <a:gd name="connsiteX4" fmla="*/ 0 w 6357937"/>
              <a:gd name="connsiteY4" fmla="*/ 0 h 139700"/>
              <a:gd name="connsiteX0" fmla="*/ 0 w 6357937"/>
              <a:gd name="connsiteY0" fmla="*/ 13259 h 152959"/>
              <a:gd name="connsiteX1" fmla="*/ 6265863 w 6357937"/>
              <a:gd name="connsiteY1" fmla="*/ 0 h 152959"/>
              <a:gd name="connsiteX2" fmla="*/ 6357937 w 6357937"/>
              <a:gd name="connsiteY2" fmla="*/ 148196 h 152959"/>
              <a:gd name="connsiteX3" fmla="*/ 0 w 6357937"/>
              <a:gd name="connsiteY3" fmla="*/ 152959 h 152959"/>
              <a:gd name="connsiteX4" fmla="*/ 0 w 6357937"/>
              <a:gd name="connsiteY4" fmla="*/ 13259 h 152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7937" h="152959">
                <a:moveTo>
                  <a:pt x="0" y="13259"/>
                </a:moveTo>
                <a:lnTo>
                  <a:pt x="6265863" y="0"/>
                </a:lnTo>
                <a:lnTo>
                  <a:pt x="6357937" y="148196"/>
                </a:lnTo>
                <a:lnTo>
                  <a:pt x="0" y="152959"/>
                </a:lnTo>
                <a:lnTo>
                  <a:pt x="0" y="13259"/>
                </a:lnTo>
                <a:close/>
              </a:path>
            </a:pathLst>
          </a:custGeom>
          <a:solidFill>
            <a:srgbClr val="00A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38AC27-3E6A-41FF-A9B6-59EC0BE0E7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" y="2"/>
            <a:ext cx="12191984" cy="6857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12448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" y="10"/>
            <a:ext cx="12191984" cy="685799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E7ABF328-B867-8C1C-8BB6-85FA1EF20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1953" y="1459963"/>
            <a:ext cx="2775991" cy="6397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defRPr sz="3200" b="1">
                <a:solidFill>
                  <a:schemeClr val="tx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en-US"/>
              <a:t>Separator Slide</a:t>
            </a:r>
          </a:p>
        </p:txBody>
      </p:sp>
    </p:spTree>
    <p:extLst>
      <p:ext uri="{BB962C8B-B14F-4D97-AF65-F5344CB8AC3E}">
        <p14:creationId xmlns:p14="http://schemas.microsoft.com/office/powerpoint/2010/main" val="155346206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E47A04F0-E3CD-8783-11BD-BC94E5B4B5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6082" y="269177"/>
            <a:ext cx="11201399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2800" b="1" kern="120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2088110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/>
        </p:nvSpPr>
        <p:spPr>
          <a:xfrm>
            <a:off x="4115009" y="6437465"/>
            <a:ext cx="3945465" cy="260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104" rtl="0" eaLnBrk="1" fontAlgn="base" latinLnBrk="0" hangingPunct="1">
              <a:lnSpc>
                <a:spcPct val="10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srgbClr val="7C7C7C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t>©LTIMindtree | Privileged and Confidential 2024</a:t>
            </a:r>
            <a:endParaRPr kumimoji="0" lang="en-IN" sz="1067" b="0" i="0" u="none" strike="noStrike" kern="1200" cap="none" spc="0" normalizeH="0" baseline="0" noProof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sp>
        <p:nvSpPr>
          <p:cNvPr id="15" name="Rectangle 83">
            <a:extLst>
              <a:ext uri="{FF2B5EF4-FFF2-40B4-BE49-F238E27FC236}">
                <a16:creationId xmlns:a16="http://schemas.microsoft.com/office/drawing/2014/main" id="{02F8F602-2C28-40AF-834B-AF1F39AA5D6B}"/>
              </a:ext>
            </a:extLst>
          </p:cNvPr>
          <p:cNvSpPr>
            <a:spLocks noGrp="1" noChangeArrowheads="1"/>
          </p:cNvSpPr>
          <p:nvPr userDrawn="1">
            <p:ph type="title" hasCustomPrompt="1"/>
          </p:nvPr>
        </p:nvSpPr>
        <p:spPr bwMode="gray">
          <a:xfrm>
            <a:off x="595087" y="408551"/>
            <a:ext cx="10515600" cy="34169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>
              <a:defRPr lang="en-US" sz="2467" b="1">
                <a:solidFill>
                  <a:srgbClr val="303030"/>
                </a:solidFill>
                <a:latin typeface="Frutiger 45 Light"/>
              </a:defRPr>
            </a:lvl1pPr>
          </a:lstStyle>
          <a:p>
            <a:pPr lvl="0" defTabSz="914377"/>
            <a:r>
              <a:rPr lang="en-US"/>
              <a:t>Click to edit Master title style</a:t>
            </a:r>
          </a:p>
        </p:txBody>
      </p:sp>
      <p:sp>
        <p:nvSpPr>
          <p:cNvPr id="23" name="object 5">
            <a:extLst>
              <a:ext uri="{FF2B5EF4-FFF2-40B4-BE49-F238E27FC236}">
                <a16:creationId xmlns:a16="http://schemas.microsoft.com/office/drawing/2014/main" id="{483C1A0F-2443-4124-AE9A-C0981BD0503D}"/>
              </a:ext>
            </a:extLst>
          </p:cNvPr>
          <p:cNvSpPr/>
          <p:nvPr userDrawn="1"/>
        </p:nvSpPr>
        <p:spPr>
          <a:xfrm rot="16200000">
            <a:off x="163513" y="465099"/>
            <a:ext cx="320040" cy="228600"/>
          </a:xfrm>
          <a:custGeom>
            <a:avLst/>
            <a:gdLst/>
            <a:ahLst/>
            <a:cxnLst/>
            <a:rect l="l" t="t" r="r" b="b"/>
            <a:pathLst>
              <a:path w="670560" h="332740">
                <a:moveTo>
                  <a:pt x="317309" y="253822"/>
                </a:moveTo>
                <a:lnTo>
                  <a:pt x="0" y="123545"/>
                </a:lnTo>
                <a:lnTo>
                  <a:pt x="0" y="202158"/>
                </a:lnTo>
                <a:lnTo>
                  <a:pt x="317309" y="332435"/>
                </a:lnTo>
                <a:lnTo>
                  <a:pt x="317309" y="253822"/>
                </a:lnTo>
                <a:close/>
              </a:path>
              <a:path w="670560" h="332740">
                <a:moveTo>
                  <a:pt x="670229" y="123545"/>
                </a:moveTo>
                <a:lnTo>
                  <a:pt x="352920" y="253796"/>
                </a:lnTo>
                <a:lnTo>
                  <a:pt x="352920" y="332409"/>
                </a:lnTo>
                <a:lnTo>
                  <a:pt x="670229" y="202158"/>
                </a:lnTo>
                <a:lnTo>
                  <a:pt x="670229" y="123545"/>
                </a:lnTo>
                <a:close/>
              </a:path>
              <a:path w="670560" h="332740">
                <a:moveTo>
                  <a:pt x="670229" y="0"/>
                </a:moveTo>
                <a:lnTo>
                  <a:pt x="335089" y="137566"/>
                </a:lnTo>
                <a:lnTo>
                  <a:pt x="0" y="0"/>
                </a:lnTo>
                <a:lnTo>
                  <a:pt x="0" y="78613"/>
                </a:lnTo>
                <a:lnTo>
                  <a:pt x="335076" y="216179"/>
                </a:lnTo>
                <a:lnTo>
                  <a:pt x="670229" y="78613"/>
                </a:lnTo>
                <a:lnTo>
                  <a:pt x="670229" y="0"/>
                </a:lnTo>
                <a:close/>
              </a:path>
            </a:pathLst>
          </a:custGeom>
          <a:solidFill>
            <a:srgbClr val="DF1424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FFAD8EF-D3D1-6E76-3233-0A1FFD924281}"/>
              </a:ext>
            </a:extLst>
          </p:cNvPr>
          <p:cNvSpPr/>
          <p:nvPr userDrawn="1"/>
        </p:nvSpPr>
        <p:spPr>
          <a:xfrm>
            <a:off x="11784647" y="6544319"/>
            <a:ext cx="351287" cy="2616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60934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5957C0-C9FD-924F-A662-3B71DAE40C56}" type="slidenum">
              <a:rPr kumimoji="0" lang="uk-UA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Calibri Light"/>
              </a:rPr>
              <a:pPr marL="0" marR="0" lvl="0" indent="0" algn="ctr" defTabSz="60934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Calibri Ligh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3549482-81BE-6E8B-480B-09DB683CA12E}"/>
              </a:ext>
            </a:extLst>
          </p:cNvPr>
          <p:cNvGrpSpPr/>
          <p:nvPr userDrawn="1"/>
        </p:nvGrpSpPr>
        <p:grpSpPr>
          <a:xfrm>
            <a:off x="-1359363" y="0"/>
            <a:ext cx="628488" cy="3585632"/>
            <a:chOff x="-1738926" y="394394"/>
            <a:chExt cx="1169582" cy="3585632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7EE9E9D-7534-E222-E400-7F123AD32CF6}"/>
                </a:ext>
              </a:extLst>
            </p:cNvPr>
            <p:cNvSpPr txBox="1"/>
            <p:nvPr/>
          </p:nvSpPr>
          <p:spPr>
            <a:xfrm>
              <a:off x="-1738926" y="394394"/>
              <a:ext cx="1169582" cy="634770"/>
            </a:xfrm>
            <a:prstGeom prst="rect">
              <a:avLst/>
            </a:prstGeom>
            <a:solidFill>
              <a:srgbClr val="002060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/>
            <a:p>
              <a:pPr marL="171446" marR="0" lvl="0" indent="-171446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0B0845B-58EA-42A9-3C00-94B50ADBD1CE}"/>
                </a:ext>
              </a:extLst>
            </p:cNvPr>
            <p:cNvSpPr txBox="1"/>
            <p:nvPr/>
          </p:nvSpPr>
          <p:spPr>
            <a:xfrm>
              <a:off x="-1738926" y="1132109"/>
              <a:ext cx="1169582" cy="634770"/>
            </a:xfrm>
            <a:prstGeom prst="rect">
              <a:avLst/>
            </a:prstGeom>
            <a:solidFill>
              <a:srgbClr val="0070C0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solidFill>
                    <a:schemeClr val="bg1"/>
                  </a:solidFill>
                  <a:cs typeface="Calibri" panose="020F0502020204030204" pitchFamily="34" charset="0"/>
                </a:defRPr>
              </a:lvl1pPr>
            </a:lstStyle>
            <a:p>
              <a:pPr marL="171450" marR="0" lvl="0" indent="-1714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0F16ADB-582F-D508-B6B0-920BF7AEAA28}"/>
                </a:ext>
              </a:extLst>
            </p:cNvPr>
            <p:cNvSpPr txBox="1"/>
            <p:nvPr/>
          </p:nvSpPr>
          <p:spPr>
            <a:xfrm>
              <a:off x="-1738926" y="1869825"/>
              <a:ext cx="1169582" cy="634770"/>
            </a:xfrm>
            <a:prstGeom prst="rect">
              <a:avLst/>
            </a:prstGeom>
            <a:solidFill>
              <a:srgbClr val="E6192F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cs typeface="Calibri" panose="020F0502020204030204" pitchFamily="34" charset="0"/>
                </a:defRPr>
              </a:lvl1pPr>
            </a:lstStyle>
            <a:p>
              <a:pPr marL="171450" marR="0" lvl="0" indent="-1714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B51F339-C9BC-CF57-B18F-3071ED85DBFE}"/>
                </a:ext>
              </a:extLst>
            </p:cNvPr>
            <p:cNvSpPr txBox="1"/>
            <p:nvPr/>
          </p:nvSpPr>
          <p:spPr>
            <a:xfrm>
              <a:off x="-1738926" y="2607541"/>
              <a:ext cx="1169582" cy="634770"/>
            </a:xfrm>
            <a:prstGeom prst="rect">
              <a:avLst/>
            </a:prstGeom>
            <a:solidFill>
              <a:srgbClr val="00B0F0"/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cs typeface="Calibri" panose="020F0502020204030204" pitchFamily="34" charset="0"/>
                </a:defRPr>
              </a:lvl1pPr>
            </a:lstStyle>
            <a:p>
              <a:pPr marL="171450" marR="0" lvl="0" indent="-1714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345FC80-96B1-2997-45BC-B41E7A5529DF}"/>
                </a:ext>
              </a:extLst>
            </p:cNvPr>
            <p:cNvSpPr txBox="1"/>
            <p:nvPr/>
          </p:nvSpPr>
          <p:spPr>
            <a:xfrm>
              <a:off x="-1738926" y="3345256"/>
              <a:ext cx="1169582" cy="63477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171450" indent="-171450" algn="ctr">
                <a:defRPr sz="1800" b="1">
                  <a:cs typeface="Calibri" panose="020F0502020204030204" pitchFamily="34" charset="0"/>
                </a:defRPr>
              </a:lvl1pPr>
            </a:lstStyle>
            <a:p>
              <a:pPr marL="171450" marR="0" lvl="0" indent="-1714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/>
                <a:ea typeface="+mn-ea"/>
                <a:cs typeface="Calibri" panose="020F0502020204030204" pitchFamily="34" charset="0"/>
              </a:endParaRPr>
            </a:p>
          </p:txBody>
        </p:sp>
      </p:grpSp>
      <p:pic>
        <p:nvPicPr>
          <p:cNvPr id="2" name="Picture 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23B0646D-B093-9231-13EA-BCD364CDB1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1116" y="6382898"/>
            <a:ext cx="1964267" cy="43917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853F2B1-BC86-4014-5D86-D92F540EAE06}"/>
              </a:ext>
            </a:extLst>
          </p:cNvPr>
          <p:cNvSpPr/>
          <p:nvPr userDrawn="1"/>
        </p:nvSpPr>
        <p:spPr>
          <a:xfrm>
            <a:off x="1639615" y="6382897"/>
            <a:ext cx="809296" cy="423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313637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número de diapositiva 5">
            <a:extLst>
              <a:ext uri="{FF2B5EF4-FFF2-40B4-BE49-F238E27FC236}">
                <a16:creationId xmlns:a16="http://schemas.microsoft.com/office/drawing/2014/main" id="{3BA9357F-11E9-B623-DB32-AA16F0336D11}"/>
              </a:ext>
            </a:extLst>
          </p:cNvPr>
          <p:cNvSpPr txBox="1">
            <a:spLocks/>
          </p:cNvSpPr>
          <p:nvPr userDrawn="1"/>
        </p:nvSpPr>
        <p:spPr>
          <a:xfrm>
            <a:off x="11221093" y="6437871"/>
            <a:ext cx="828095" cy="324139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439014-E629-42E3-A58B-61A0F1C8CFF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rutiger 45 Light" pitchFamily="2" charset="0"/>
                <a:ea typeface="+mn-ea"/>
                <a:cs typeface="Calibri" panose="020F05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Frutiger 45 Light" pitchFamily="2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4DCCD2-E9DA-CB5C-BF93-44D82B68C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439" y="277576"/>
            <a:ext cx="11485124" cy="360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1">
                <a:solidFill>
                  <a:schemeClr val="tx2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F1FCC90-A1E8-5702-8E79-16A6D14B80B3}"/>
              </a:ext>
            </a:extLst>
          </p:cNvPr>
          <p:cNvSpPr/>
          <p:nvPr userDrawn="1"/>
        </p:nvSpPr>
        <p:spPr>
          <a:xfrm>
            <a:off x="1" y="2222500"/>
            <a:ext cx="88900" cy="3835400"/>
          </a:xfrm>
          <a:prstGeom prst="rect">
            <a:avLst/>
          </a:prstGeom>
          <a:solidFill>
            <a:srgbClr val="E61E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E8F0840-3DF2-CC68-0909-DB09F2FAAC45}"/>
              </a:ext>
            </a:extLst>
          </p:cNvPr>
          <p:cNvSpPr/>
          <p:nvPr userDrawn="1"/>
        </p:nvSpPr>
        <p:spPr>
          <a:xfrm>
            <a:off x="12103101" y="380859"/>
            <a:ext cx="88900" cy="2619631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3354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64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5">
            <a:extLst>
              <a:ext uri="{FF2B5EF4-FFF2-40B4-BE49-F238E27FC236}">
                <a16:creationId xmlns:a16="http://schemas.microsoft.com/office/drawing/2014/main" id="{88F87DCB-9C97-7BB3-AA94-97494D5C0577}"/>
              </a:ext>
            </a:extLst>
          </p:cNvPr>
          <p:cNvSpPr/>
          <p:nvPr userDrawn="1"/>
        </p:nvSpPr>
        <p:spPr>
          <a:xfrm>
            <a:off x="0" y="199508"/>
            <a:ext cx="149627" cy="423949"/>
          </a:xfrm>
          <a:custGeom>
            <a:avLst/>
            <a:gdLst>
              <a:gd name="connsiteX0" fmla="*/ 0 w 249382"/>
              <a:gd name="connsiteY0" fmla="*/ 0 h 423949"/>
              <a:gd name="connsiteX1" fmla="*/ 249382 w 249382"/>
              <a:gd name="connsiteY1" fmla="*/ 0 h 423949"/>
              <a:gd name="connsiteX2" fmla="*/ 249382 w 249382"/>
              <a:gd name="connsiteY2" fmla="*/ 423949 h 423949"/>
              <a:gd name="connsiteX3" fmla="*/ 0 w 249382"/>
              <a:gd name="connsiteY3" fmla="*/ 423949 h 423949"/>
              <a:gd name="connsiteX4" fmla="*/ 0 w 249382"/>
              <a:gd name="connsiteY4" fmla="*/ 0 h 423949"/>
              <a:gd name="connsiteX0" fmla="*/ 0 w 249382"/>
              <a:gd name="connsiteY0" fmla="*/ 0 h 423949"/>
              <a:gd name="connsiteX1" fmla="*/ 249382 w 249382"/>
              <a:gd name="connsiteY1" fmla="*/ 0 h 423949"/>
              <a:gd name="connsiteX2" fmla="*/ 249382 w 249382"/>
              <a:gd name="connsiteY2" fmla="*/ 423949 h 423949"/>
              <a:gd name="connsiteX3" fmla="*/ 0 w 249382"/>
              <a:gd name="connsiteY3" fmla="*/ 423949 h 423949"/>
              <a:gd name="connsiteX4" fmla="*/ 91440 w 249382"/>
              <a:gd name="connsiteY4" fmla="*/ 91440 h 423949"/>
              <a:gd name="connsiteX0" fmla="*/ 33251 w 282633"/>
              <a:gd name="connsiteY0" fmla="*/ 0 h 423949"/>
              <a:gd name="connsiteX1" fmla="*/ 282633 w 282633"/>
              <a:gd name="connsiteY1" fmla="*/ 0 h 423949"/>
              <a:gd name="connsiteX2" fmla="*/ 282633 w 282633"/>
              <a:gd name="connsiteY2" fmla="*/ 423949 h 423949"/>
              <a:gd name="connsiteX3" fmla="*/ 33251 w 282633"/>
              <a:gd name="connsiteY3" fmla="*/ 423949 h 423949"/>
              <a:gd name="connsiteX4" fmla="*/ 0 w 282633"/>
              <a:gd name="connsiteY4" fmla="*/ 307571 h 423949"/>
              <a:gd name="connsiteX0" fmla="*/ 0 w 249382"/>
              <a:gd name="connsiteY0" fmla="*/ 0 h 423949"/>
              <a:gd name="connsiteX1" fmla="*/ 249382 w 249382"/>
              <a:gd name="connsiteY1" fmla="*/ 0 h 423949"/>
              <a:gd name="connsiteX2" fmla="*/ 249382 w 249382"/>
              <a:gd name="connsiteY2" fmla="*/ 423949 h 423949"/>
              <a:gd name="connsiteX3" fmla="*/ 0 w 249382"/>
              <a:gd name="connsiteY3" fmla="*/ 423949 h 423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382" h="423949">
                <a:moveTo>
                  <a:pt x="0" y="0"/>
                </a:moveTo>
                <a:lnTo>
                  <a:pt x="249382" y="0"/>
                </a:lnTo>
                <a:lnTo>
                  <a:pt x="249382" y="423949"/>
                </a:lnTo>
                <a:lnTo>
                  <a:pt x="0" y="423949"/>
                </a:lnTo>
              </a:path>
            </a:pathLst>
          </a:custGeom>
          <a:noFill/>
          <a:ln w="76200">
            <a:solidFill>
              <a:srgbClr val="0058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DE87A9D7-9876-DA47-25E6-C254B490E1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210622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  <p15:guide id="2" pos="336">
          <p15:clr>
            <a:srgbClr val="FBAE40"/>
          </p15:clr>
        </p15:guide>
        <p15:guide id="3" orient="horz" pos="288">
          <p15:clr>
            <a:srgbClr val="FBAE40"/>
          </p15:clr>
        </p15:guide>
        <p15:guide id="4" pos="734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0E2AFA92-4A8A-D692-CB16-A5351C9E57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862"/>
            <a:ext cx="5760164" cy="4106844"/>
          </a:xfrm>
          <a:prstGeom prst="rect">
            <a:avLst/>
          </a:prstGeom>
        </p:spPr>
      </p:pic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773A9ED4-9BDF-42B0-B98D-5F105B1AC1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46042" y="961005"/>
            <a:ext cx="8911647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dirty="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Title Her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B90635A-C270-48A0-A1B0-C1B896E998A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1663792" y="1712849"/>
            <a:ext cx="8864415" cy="3432302"/>
          </a:xfrm>
        </p:spPr>
        <p:txBody>
          <a:bodyPr/>
          <a:lstStyle>
            <a:lvl1pPr>
              <a:defRPr lang="en-US" sz="2400" b="1" dirty="0" smtClean="0">
                <a:solidFill>
                  <a:srgbClr val="595959"/>
                </a:solidFill>
                <a:latin typeface="Frutiger LT Pro 55 Roman" panose="020B0602020204020204" pitchFamily="34" charset="77"/>
              </a:defRPr>
            </a:lvl1pPr>
            <a:lvl2pPr marL="114300" indent="-342900">
              <a:buFont typeface="Wingdings" pitchFamily="2" charset="2"/>
              <a:buChar char="§"/>
              <a:defRPr sz="2000">
                <a:solidFill>
                  <a:srgbClr val="595959"/>
                </a:solidFill>
                <a:latin typeface="Frutiger 45 Light" pitchFamily="2" charset="0"/>
              </a:defRPr>
            </a:lvl2pPr>
            <a:lvl3pPr marL="1085850" indent="-285750">
              <a:buFont typeface="Wingdings" pitchFamily="2" charset="2"/>
              <a:buChar char="§"/>
              <a:defRPr sz="1800">
                <a:solidFill>
                  <a:srgbClr val="595959"/>
                </a:solidFill>
                <a:latin typeface="Frutiger LT Pro 55 Roman" panose="020B0602020204020204" pitchFamily="34" charset="77"/>
              </a:defRPr>
            </a:lvl3pPr>
            <a:lvl4pPr marL="1600200" indent="-285750">
              <a:buFont typeface="Wingdings" pitchFamily="2" charset="2"/>
              <a:buChar char="§"/>
              <a:defRPr sz="1400">
                <a:solidFill>
                  <a:srgbClr val="595959"/>
                </a:solidFill>
                <a:latin typeface="Frutiger LT Pro 55 Roman" panose="020B0602020204020204" pitchFamily="34" charset="77"/>
              </a:defRPr>
            </a:lvl4pPr>
            <a:lvl5pPr>
              <a:buFont typeface="Wingdings" pitchFamily="2" charset="2"/>
              <a:buChar char="§"/>
              <a:defRPr sz="1400">
                <a:solidFill>
                  <a:srgbClr val="595959"/>
                </a:solidFill>
                <a:latin typeface="Frutiger 45 Light" pitchFamily="2" charset="0"/>
              </a:defRPr>
            </a:lvl5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/>
              <a:t>Click to edit Master text styles</a:t>
            </a:r>
          </a:p>
          <a:p>
            <a:pPr marL="1028700" lvl="2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/>
              <a:t>Second level</a:t>
            </a:r>
          </a:p>
          <a:p>
            <a:pPr marL="1543050" lvl="3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err="1"/>
              <a:t>fsdfdasfdsafasdfsdfa</a:t>
            </a:r>
            <a:endParaRPr lang="en-US"/>
          </a:p>
          <a:p>
            <a:pPr marL="285750" lvl="2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/>
              <a:t>Third level</a:t>
            </a:r>
          </a:p>
          <a:p>
            <a:pPr marL="285750" lvl="3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/>
              <a:t>Fourth level</a:t>
            </a:r>
          </a:p>
          <a:p>
            <a:pPr marL="285750" lvl="4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1974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F8F8F8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CE03DCE-30C9-F426-C00F-B9F460DC72B9}"/>
              </a:ext>
            </a:extLst>
          </p:cNvPr>
          <p:cNvSpPr/>
          <p:nvPr userDrawn="1"/>
        </p:nvSpPr>
        <p:spPr>
          <a:xfrm>
            <a:off x="11818060" y="6546057"/>
            <a:ext cx="373013" cy="31194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4C22D51-73B5-F05B-D4A5-8E57C78EC35B}"/>
              </a:ext>
            </a:extLst>
          </p:cNvPr>
          <p:cNvSpPr txBox="1"/>
          <p:nvPr userDrawn="1"/>
        </p:nvSpPr>
        <p:spPr>
          <a:xfrm>
            <a:off x="11818059" y="6596391"/>
            <a:ext cx="373015" cy="215444"/>
          </a:xfrm>
          <a:prstGeom prst="rect">
            <a:avLst/>
          </a:prstGeom>
          <a:solidFill>
            <a:srgbClr val="FF0000"/>
          </a:solidFill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0E2A6B-A809-4840-BF14-8648BC0BDF87}" type="slidenum">
              <a:rPr kumimoji="0" lang="id-ID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Open Sans Semibold" panose="020B0706030804020204" pitchFamily="34" charset="0"/>
                <a:cs typeface="Calibri" panose="020F050202020403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id-ID" sz="93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Open Sans Semibold" panose="020B0706030804020204" pitchFamily="34" charset="0"/>
              <a:cs typeface="Calibri" panose="020F050202020403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94DE892-AC52-4750-88C7-B13F17F4295A}"/>
              </a:ext>
            </a:extLst>
          </p:cNvPr>
          <p:cNvCxnSpPr>
            <a:cxnSpLocks/>
          </p:cNvCxnSpPr>
          <p:nvPr userDrawn="1"/>
        </p:nvCxnSpPr>
        <p:spPr>
          <a:xfrm>
            <a:off x="0" y="399755"/>
            <a:ext cx="406400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45DCF73F-AAE0-43DE-9487-63B1CA5D3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927" y="171155"/>
            <a:ext cx="11338560" cy="45720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 kumimoji="0" lang="en-US" sz="2400" b="1" i="0" u="none" strike="noStrike" kern="0" cap="none" spc="0" normalizeH="0" baseline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58775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184540A-011B-D9A9-3F51-021BB7CF0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724" y="143953"/>
            <a:ext cx="11942275" cy="43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b="1" kern="1200" dirty="0">
                <a:solidFill>
                  <a:srgbClr val="2850A3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FE8D8C8-F5A6-BB9D-5415-E305C4B11A03}"/>
              </a:ext>
            </a:extLst>
          </p:cNvPr>
          <p:cNvSpPr/>
          <p:nvPr userDrawn="1"/>
        </p:nvSpPr>
        <p:spPr>
          <a:xfrm>
            <a:off x="0" y="143953"/>
            <a:ext cx="101600" cy="432000"/>
          </a:xfrm>
          <a:prstGeom prst="rect">
            <a:avLst/>
          </a:prstGeom>
          <a:solidFill>
            <a:srgbClr val="EA1939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8633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0102D0F-157A-1052-F873-B3A9138043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722" y="469835"/>
            <a:ext cx="11130552" cy="332399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2400" b="1">
                <a:solidFill>
                  <a:schemeClr val="accent2">
                    <a:lumMod val="50000"/>
                  </a:schemeClr>
                </a:solidFill>
                <a:ea typeface="+mn-ea"/>
              </a:defRPr>
            </a:lvl1pPr>
          </a:lstStyle>
          <a:p>
            <a:pPr marL="0" lvl="0" indent="0">
              <a:spcBef>
                <a:spcPts val="1000"/>
              </a:spcBef>
              <a:buFontTx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497760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EDF1CA-D0D8-F54A-A2BD-04F2B155F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395" y="215067"/>
            <a:ext cx="10885714" cy="45783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800">
                <a:solidFill>
                  <a:srgbClr val="51515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78801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815C7D-CC90-4232-9BFD-B2B1B29D3D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400" y="1163411"/>
            <a:ext cx="10515600" cy="1325563"/>
          </a:xfrm>
        </p:spPr>
        <p:txBody>
          <a:bodyPr>
            <a:normAutofit/>
          </a:bodyPr>
          <a:lstStyle>
            <a:lvl1pPr>
              <a:defRPr lang="en-US" sz="2800" b="1" kern="1200" dirty="0">
                <a:solidFill>
                  <a:srgbClr val="595959"/>
                </a:solidFill>
                <a:latin typeface="Frutiger 45 Light" pitchFamily="2" charset="0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line goes here</a:t>
            </a:r>
            <a:br>
              <a:rPr lang="en-US"/>
            </a:br>
            <a:r>
              <a:rPr lang="en-US"/>
              <a:t>Headline goes he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6252767-4743-47D6-B4D1-07FC2385DD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3400" y="2815546"/>
            <a:ext cx="10515600" cy="27432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rgbClr val="595959"/>
                </a:solidFill>
                <a:latin typeface="Frutiger 45 Light" pitchFamily="2" charset="0"/>
                <a:cs typeface="Calibri" panose="020F050202020403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11611A3D-47D0-3647-0CCE-0CB7D32E60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399" y="469835"/>
            <a:ext cx="11125200" cy="43497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45 bold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186330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6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5CDA55D2-453F-4E7D-AF30-1542DF26E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972" y="457200"/>
            <a:ext cx="4293054" cy="1600200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200" b="1" kern="1200" dirty="0">
                <a:solidFill>
                  <a:srgbClr val="595959"/>
                </a:solidFill>
                <a:latin typeface="Frutiger 45 bold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1469E54-C50A-4DB5-B104-9B99883176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8972" y="2057400"/>
            <a:ext cx="4293054" cy="3811588"/>
          </a:xfrm>
        </p:spPr>
        <p:txBody>
          <a:bodyPr/>
          <a:lstStyle>
            <a:lvl1pPr marL="0" indent="0">
              <a:buNone/>
              <a:defRPr sz="1600">
                <a:solidFill>
                  <a:srgbClr val="595959"/>
                </a:solidFill>
                <a:latin typeface="Frutiger 45 Light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E8A5CEA-5F4E-4109-ACB7-808AE0D5B170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5306569" y="2055542"/>
            <a:ext cx="5181599" cy="3813445"/>
          </a:xfrm>
        </p:spPr>
        <p:txBody>
          <a:bodyPr/>
          <a:lstStyle>
            <a:lvl1pPr>
              <a:defRPr lang="en-US" sz="2400" b="1" dirty="0" smtClean="0">
                <a:solidFill>
                  <a:srgbClr val="595959"/>
                </a:solidFill>
                <a:latin typeface="Frutiger 45 Light" pitchFamily="2" charset="0"/>
              </a:defRPr>
            </a:lvl1pPr>
            <a:lvl2pPr>
              <a:defRPr sz="2000">
                <a:solidFill>
                  <a:srgbClr val="595959"/>
                </a:solidFill>
                <a:latin typeface="Frutiger 45 Light" pitchFamily="2" charset="0"/>
              </a:defRPr>
            </a:lvl2pPr>
            <a:lvl3pPr>
              <a:defRPr sz="1800">
                <a:solidFill>
                  <a:srgbClr val="595959"/>
                </a:solidFill>
                <a:latin typeface="Frutiger 45 Light" pitchFamily="2" charset="0"/>
              </a:defRPr>
            </a:lvl3pPr>
            <a:lvl4pPr>
              <a:defRPr sz="1400">
                <a:solidFill>
                  <a:srgbClr val="595959"/>
                </a:solidFill>
                <a:latin typeface="Frutiger 45 Light" pitchFamily="2" charset="0"/>
              </a:defRPr>
            </a:lvl4pPr>
            <a:lvl5pPr>
              <a:defRPr sz="1400">
                <a:solidFill>
                  <a:srgbClr val="595959"/>
                </a:solidFill>
                <a:latin typeface="Frutiger 45 Light" pitchFamily="2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75013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image" Target="../media/image7.svg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5" Type="http://schemas.openxmlformats.org/officeDocument/2006/relationships/image" Target="../media/image7.svg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03685D-D505-42E6-B2A3-1B26BC7932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86" y="365125"/>
            <a:ext cx="10885714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20300D-8B9D-444F-97B8-8F7D7E3A37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8086" y="1825625"/>
            <a:ext cx="10885714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604E6E1E-7055-8D1B-4C37-9DCF88F2180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7" name="Text Box 1073742684">
            <a:extLst>
              <a:ext uri="{FF2B5EF4-FFF2-40B4-BE49-F238E27FC236}">
                <a16:creationId xmlns:a16="http://schemas.microsoft.com/office/drawing/2014/main" id="{CB09C83E-2E41-0B4B-7535-36A14EDE4624}"/>
              </a:ext>
            </a:extLst>
          </p:cNvPr>
          <p:cNvSpPr txBox="1"/>
          <p:nvPr userDrawn="1"/>
        </p:nvSpPr>
        <p:spPr>
          <a:xfrm>
            <a:off x="4620260" y="3278188"/>
            <a:ext cx="2951480" cy="301625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IN" sz="1000">
              <a:solidFill>
                <a:srgbClr val="595959"/>
              </a:solidFill>
              <a:effectLst/>
              <a:latin typeface="Frutiger LT Pro 45 Light" panose="020B0403030504020204" pitchFamily="34" charset="77"/>
              <a:ea typeface="Frutiger LT Pro 45 Light" panose="020B0403030504020204" pitchFamily="34" charset="77"/>
              <a:cs typeface="Calibri" panose="020F050202020403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2BDAC31-1B01-A28A-0275-554BC37AB0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2145"/>
          <a:stretch/>
        </p:blipFill>
        <p:spPr>
          <a:xfrm>
            <a:off x="0" y="6320118"/>
            <a:ext cx="12192000" cy="53877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2E9470B-84E1-682D-55CA-72B7F485EC38}"/>
              </a:ext>
            </a:extLst>
          </p:cNvPr>
          <p:cNvSpPr txBox="1"/>
          <p:nvPr userDrawn="1"/>
        </p:nvSpPr>
        <p:spPr>
          <a:xfrm>
            <a:off x="4009499" y="6487127"/>
            <a:ext cx="41641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spc="100" baseline="0" dirty="0">
                <a:solidFill>
                  <a:schemeClr val="bg1"/>
                </a:solidFill>
                <a:effectLst/>
                <a:latin typeface="Source Sans Pro" panose="020B0503030403020204" pitchFamily="34" charset="0"/>
              </a:rPr>
              <a:t>©LTIMindtree 2025</a:t>
            </a:r>
          </a:p>
        </p:txBody>
      </p:sp>
      <p:sp>
        <p:nvSpPr>
          <p:cNvPr id="12" name="Marcador de número de diapositiva 5">
            <a:extLst>
              <a:ext uri="{FF2B5EF4-FFF2-40B4-BE49-F238E27FC236}">
                <a16:creationId xmlns:a16="http://schemas.microsoft.com/office/drawing/2014/main" id="{E3730D2A-88D8-A28F-11F8-F713DCB44AFF}"/>
              </a:ext>
            </a:extLst>
          </p:cNvPr>
          <p:cNvSpPr txBox="1">
            <a:spLocks/>
          </p:cNvSpPr>
          <p:nvPr userDrawn="1"/>
        </p:nvSpPr>
        <p:spPr>
          <a:xfrm>
            <a:off x="11221092" y="6437871"/>
            <a:ext cx="828094" cy="324138"/>
          </a:xfrm>
          <a:prstGeom prst="rect">
            <a:avLst/>
          </a:prstGeom>
        </p:spPr>
        <p:txBody>
          <a:bodyPr lIns="104891" tIns="52445" rIns="104891" bIns="52445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439014-E629-42E3-A58B-61A0F1C8CFFE}" type="slidenum">
              <a:rPr lang="en-US" sz="1200" b="0" smtClean="0">
                <a:solidFill>
                  <a:schemeClr val="bg1"/>
                </a:solidFill>
                <a:latin typeface="Frutiger 45 Light" pitchFamily="2" charset="0"/>
                <a:cs typeface="Calibri" panose="020F0502020204030204" pitchFamily="34" charset="0"/>
              </a:rPr>
              <a:pPr algn="r"/>
              <a:t>‹#›</a:t>
            </a:fld>
            <a:endParaRPr lang="en-US" sz="1200" b="0">
              <a:solidFill>
                <a:schemeClr val="bg1"/>
              </a:solidFill>
              <a:latin typeface="Frutiger 45 Light" pitchFamily="2" charset="0"/>
              <a:cs typeface="Calibri" panose="020F0502020204030204" pitchFamily="34" charset="0"/>
            </a:endParaRPr>
          </a:p>
        </p:txBody>
      </p:sp>
      <p:sp>
        <p:nvSpPr>
          <p:cNvPr id="5" name="Flowchart: Connector 4">
            <a:extLst>
              <a:ext uri="{FF2B5EF4-FFF2-40B4-BE49-F238E27FC236}">
                <a16:creationId xmlns:a16="http://schemas.microsoft.com/office/drawing/2014/main" id="{415CE609-CA98-359B-8F9C-3E20A2DF1FF1}"/>
              </a:ext>
            </a:extLst>
          </p:cNvPr>
          <p:cNvSpPr/>
          <p:nvPr userDrawn="1"/>
        </p:nvSpPr>
        <p:spPr>
          <a:xfrm>
            <a:off x="12319427" y="185831"/>
            <a:ext cx="365760" cy="365760"/>
          </a:xfrm>
          <a:prstGeom prst="flowChartConnector">
            <a:avLst/>
          </a:prstGeom>
          <a:solidFill>
            <a:srgbClr val="004C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Flowchart: Connector 5">
            <a:extLst>
              <a:ext uri="{FF2B5EF4-FFF2-40B4-BE49-F238E27FC236}">
                <a16:creationId xmlns:a16="http://schemas.microsoft.com/office/drawing/2014/main" id="{5F39BD86-9473-E5BF-7685-0EC83FDE9F21}"/>
              </a:ext>
            </a:extLst>
          </p:cNvPr>
          <p:cNvSpPr/>
          <p:nvPr userDrawn="1"/>
        </p:nvSpPr>
        <p:spPr>
          <a:xfrm>
            <a:off x="12319427" y="554541"/>
            <a:ext cx="365760" cy="365760"/>
          </a:xfrm>
          <a:prstGeom prst="flowChartConnector">
            <a:avLst/>
          </a:prstGeom>
          <a:solidFill>
            <a:srgbClr val="FFCC2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Flowchart: Connector 7">
            <a:extLst>
              <a:ext uri="{FF2B5EF4-FFF2-40B4-BE49-F238E27FC236}">
                <a16:creationId xmlns:a16="http://schemas.microsoft.com/office/drawing/2014/main" id="{49815565-50C2-3FF7-59B9-573BE29F000F}"/>
              </a:ext>
            </a:extLst>
          </p:cNvPr>
          <p:cNvSpPr/>
          <p:nvPr userDrawn="1"/>
        </p:nvSpPr>
        <p:spPr>
          <a:xfrm>
            <a:off x="12319427" y="934673"/>
            <a:ext cx="365760" cy="365760"/>
          </a:xfrm>
          <a:prstGeom prst="flowChartConnector">
            <a:avLst/>
          </a:prstGeom>
          <a:solidFill>
            <a:srgbClr val="0088C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A72D18DE-2750-0E5D-1936-04A945CDA11B}"/>
              </a:ext>
            </a:extLst>
          </p:cNvPr>
          <p:cNvSpPr/>
          <p:nvPr userDrawn="1"/>
        </p:nvSpPr>
        <p:spPr>
          <a:xfrm>
            <a:off x="12319427" y="1324928"/>
            <a:ext cx="365760" cy="365760"/>
          </a:xfrm>
          <a:prstGeom prst="flowChartConnector">
            <a:avLst/>
          </a:prstGeom>
          <a:solidFill>
            <a:srgbClr val="EF7F1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Flowchart: Connector 12">
            <a:extLst>
              <a:ext uri="{FF2B5EF4-FFF2-40B4-BE49-F238E27FC236}">
                <a16:creationId xmlns:a16="http://schemas.microsoft.com/office/drawing/2014/main" id="{BF7FBEA2-6BB4-2705-5FA2-F799F767F5FB}"/>
              </a:ext>
            </a:extLst>
          </p:cNvPr>
          <p:cNvSpPr/>
          <p:nvPr userDrawn="1"/>
        </p:nvSpPr>
        <p:spPr>
          <a:xfrm>
            <a:off x="12365393" y="2948477"/>
            <a:ext cx="365760" cy="365760"/>
          </a:xfrm>
          <a:prstGeom prst="flowChartConnector">
            <a:avLst/>
          </a:prstGeom>
          <a:solidFill>
            <a:srgbClr val="0033A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14" name="Flowchart: Connector 13">
            <a:extLst>
              <a:ext uri="{FF2B5EF4-FFF2-40B4-BE49-F238E27FC236}">
                <a16:creationId xmlns:a16="http://schemas.microsoft.com/office/drawing/2014/main" id="{7E568E2C-3E4D-0DEB-23C3-C623AD70B78A}"/>
              </a:ext>
            </a:extLst>
          </p:cNvPr>
          <p:cNvSpPr/>
          <p:nvPr userDrawn="1"/>
        </p:nvSpPr>
        <p:spPr>
          <a:xfrm>
            <a:off x="12365393" y="3383445"/>
            <a:ext cx="365760" cy="365760"/>
          </a:xfrm>
          <a:prstGeom prst="flowChartConnector">
            <a:avLst/>
          </a:prstGeom>
          <a:solidFill>
            <a:srgbClr val="2D67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15" name="Flowchart: Connector 14">
            <a:extLst>
              <a:ext uri="{FF2B5EF4-FFF2-40B4-BE49-F238E27FC236}">
                <a16:creationId xmlns:a16="http://schemas.microsoft.com/office/drawing/2014/main" id="{411C24FD-10B9-C032-C63B-84280435F520}"/>
              </a:ext>
            </a:extLst>
          </p:cNvPr>
          <p:cNvSpPr/>
          <p:nvPr userDrawn="1"/>
        </p:nvSpPr>
        <p:spPr>
          <a:xfrm>
            <a:off x="12365393" y="2513509"/>
            <a:ext cx="365760" cy="365760"/>
          </a:xfrm>
          <a:prstGeom prst="flowChartConnector">
            <a:avLst/>
          </a:prstGeom>
          <a:solidFill>
            <a:srgbClr val="00006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6" name="Flowchart: Connector 15">
            <a:extLst>
              <a:ext uri="{FF2B5EF4-FFF2-40B4-BE49-F238E27FC236}">
                <a16:creationId xmlns:a16="http://schemas.microsoft.com/office/drawing/2014/main" id="{04391FD6-78FD-4A9C-8527-CB32FB09F1E3}"/>
              </a:ext>
            </a:extLst>
          </p:cNvPr>
          <p:cNvSpPr/>
          <p:nvPr userDrawn="1"/>
        </p:nvSpPr>
        <p:spPr>
          <a:xfrm>
            <a:off x="12365393" y="3818414"/>
            <a:ext cx="365760" cy="365760"/>
          </a:xfrm>
          <a:prstGeom prst="flowChartConnector">
            <a:avLst/>
          </a:prstGeom>
          <a:solidFill>
            <a:srgbClr val="32AD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6D588B6-A3D2-74C4-F24E-FCA5AD0AE46B}"/>
              </a:ext>
            </a:extLst>
          </p:cNvPr>
          <p:cNvSpPr/>
          <p:nvPr userDrawn="1"/>
        </p:nvSpPr>
        <p:spPr>
          <a:xfrm>
            <a:off x="328247" y="6390504"/>
            <a:ext cx="1969477" cy="454856"/>
          </a:xfrm>
          <a:prstGeom prst="rect">
            <a:avLst/>
          </a:prstGeom>
          <a:solidFill>
            <a:srgbClr val="004C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8" name="Picture 17" descr="A black background with white text">
            <a:extLst>
              <a:ext uri="{FF2B5EF4-FFF2-40B4-BE49-F238E27FC236}">
                <a16:creationId xmlns:a16="http://schemas.microsoft.com/office/drawing/2014/main" id="{7042BB24-FEE4-B9EB-13C8-2E82C4CEBBF1}"/>
              </a:ext>
            </a:extLst>
          </p:cNvPr>
          <p:cNvPicPr>
            <a:picLocks noChangeAspect="1"/>
          </p:cNvPicPr>
          <p:nvPr userDrawn="1"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86" y="6401018"/>
            <a:ext cx="1371600" cy="387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067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19" r:id="rId16"/>
    <p:sldLayoutId id="2147483720" r:id="rId17"/>
    <p:sldLayoutId id="2147483721" r:id="rId18"/>
    <p:sldLayoutId id="2147483722" r:id="rId19"/>
    <p:sldLayoutId id="2147483723" r:id="rId20"/>
    <p:sldLayoutId id="2147483724" r:id="rId21"/>
    <p:sldLayoutId id="2147483725" r:id="rId22"/>
    <p:sldLayoutId id="2147483726" r:id="rId23"/>
    <p:sldLayoutId id="2147483727" r:id="rId24"/>
    <p:sldLayoutId id="2147483728" r:id="rId25"/>
    <p:sldLayoutId id="2147483729" r:id="rId26"/>
    <p:sldLayoutId id="2147483730" r:id="rId27"/>
    <p:sldLayoutId id="2147483731" r:id="rId28"/>
    <p:sldLayoutId id="2147483732" r:id="rId29"/>
    <p:sldLayoutId id="2147483733" r:id="rId30"/>
    <p:sldLayoutId id="2147483734" r:id="rId31"/>
    <p:sldLayoutId id="2147483735" r:id="rId32"/>
    <p:sldLayoutId id="2147483736" r:id="rId33"/>
    <p:sldLayoutId id="2147483737" r:id="rId34"/>
    <p:sldLayoutId id="2147483738" r:id="rId35"/>
    <p:sldLayoutId id="2147483739" r:id="rId36"/>
    <p:sldLayoutId id="2147483740" r:id="rId37"/>
    <p:sldLayoutId id="2147483741" r:id="rId38"/>
    <p:sldLayoutId id="2147483742" r:id="rId39"/>
    <p:sldLayoutId id="2147483743" r:id="rId40"/>
    <p:sldLayoutId id="2147483744" r:id="rId41"/>
    <p:sldLayoutId id="2147483745" r:id="rId42"/>
    <p:sldLayoutId id="2147483746" r:id="rId43"/>
    <p:sldLayoutId id="2147483747" r:id="rId44"/>
    <p:sldLayoutId id="2147483749" r:id="rId45"/>
    <p:sldLayoutId id="2147483750" r:id="rId46"/>
    <p:sldLayoutId id="2147483751" r:id="rId47"/>
    <p:sldLayoutId id="2147483752" r:id="rId48"/>
    <p:sldLayoutId id="2147483753" r:id="rId49"/>
    <p:sldLayoutId id="2147483754" r:id="rId50"/>
    <p:sldLayoutId id="2147483755" r:id="rId5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Frutiger LT Pro 55 Roman" panose="020B0602020204020204" pitchFamily="34" charset="77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Frutiger LT Pro 55 Roman" panose="020B0602020204020204" pitchFamily="34" charset="77"/>
          <a:ea typeface="+mn-ea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Frutiger LT Pro 55 Roman" panose="020B0602020204020204" pitchFamily="34" charset="77"/>
          <a:ea typeface="+mn-ea"/>
          <a:cs typeface="Calibri" panose="020F050202020403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utiger LT Pro 55 Roman" panose="020B0602020204020204" pitchFamily="34" charset="77"/>
          <a:ea typeface="+mn-ea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rutiger LT Pro 55 Roman" panose="020B0602020204020204" pitchFamily="34" charset="77"/>
          <a:ea typeface="+mn-ea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rutiger LT Pro 55 Roman" panose="020B0602020204020204" pitchFamily="34" charset="77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03685D-D505-42E6-B2A3-1B26BC7932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85" y="365125"/>
            <a:ext cx="1088571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20300D-8B9D-444F-97B8-8F7D7E3A37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8085" y="1825625"/>
            <a:ext cx="1088571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DEDB723-1905-4E83-9D47-D0B5CFAA7945}"/>
              </a:ext>
            </a:extLst>
          </p:cNvPr>
          <p:cNvSpPr txBox="1"/>
          <p:nvPr userDrawn="1"/>
        </p:nvSpPr>
        <p:spPr>
          <a:xfrm>
            <a:off x="3144520" y="6478192"/>
            <a:ext cx="5999480" cy="2496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97A0A4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LTIMindtree | Privileged and Confidential 2025</a:t>
            </a:r>
            <a:endParaRPr kumimoji="0" lang="en-IN" sz="10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604E6E1E-7055-8D1B-4C37-9DCF88F2180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003624" y="90102"/>
            <a:ext cx="18473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2F171322-9733-781D-E8F0-A4A2852E8C0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39246" y="6448698"/>
            <a:ext cx="1167615" cy="329551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BFAADE7-DDFF-BF0A-D366-76DAC73818AA}"/>
              </a:ext>
            </a:extLst>
          </p:cNvPr>
          <p:cNvCxnSpPr>
            <a:cxnSpLocks/>
          </p:cNvCxnSpPr>
          <p:nvPr userDrawn="1"/>
        </p:nvCxnSpPr>
        <p:spPr>
          <a:xfrm>
            <a:off x="1327335" y="6515214"/>
            <a:ext cx="0" cy="207949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E3F00A9D-A8B8-46B2-1BF7-7E8FF6AC3B0C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318593" y="6530728"/>
            <a:ext cx="909784" cy="160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03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Calibri" panose="020F050202020403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03685D-D505-42E6-B2A3-1B26BC7932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85" y="365125"/>
            <a:ext cx="1088571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20300D-8B9D-444F-97B8-8F7D7E3A37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8085" y="1825625"/>
            <a:ext cx="1088571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DEDB723-1905-4E83-9D47-D0B5CFAA7945}"/>
              </a:ext>
            </a:extLst>
          </p:cNvPr>
          <p:cNvSpPr txBox="1"/>
          <p:nvPr userDrawn="1"/>
        </p:nvSpPr>
        <p:spPr>
          <a:xfrm>
            <a:off x="3144520" y="6478192"/>
            <a:ext cx="5999480" cy="2496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97A0A4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LTIMindtree | Privileged and Confidential 2025</a:t>
            </a:r>
            <a:endParaRPr kumimoji="0" lang="en-IN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604E6E1E-7055-8D1B-4C37-9DCF88F2180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003624" y="90102"/>
            <a:ext cx="18473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2F171322-9733-781D-E8F0-A4A2852E8C0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39246" y="6448698"/>
            <a:ext cx="1167615" cy="329551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BFAADE7-DDFF-BF0A-D366-76DAC73818AA}"/>
              </a:ext>
            </a:extLst>
          </p:cNvPr>
          <p:cNvCxnSpPr>
            <a:cxnSpLocks/>
          </p:cNvCxnSpPr>
          <p:nvPr userDrawn="1"/>
        </p:nvCxnSpPr>
        <p:spPr>
          <a:xfrm>
            <a:off x="1327335" y="6515214"/>
            <a:ext cx="0" cy="207949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E3F00A9D-A8B8-46B2-1BF7-7E8FF6AC3B0C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318593" y="6530728"/>
            <a:ext cx="909784" cy="160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422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Calibri" panose="020F050202020403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14.pn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image" Target="../media/image13.png"/><Relationship Id="rId2" Type="http://schemas.openxmlformats.org/officeDocument/2006/relationships/tags" Target="../tags/tag3.xml"/><Relationship Id="rId16" Type="http://schemas.openxmlformats.org/officeDocument/2006/relationships/image" Target="../media/image17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12.png"/><Relationship Id="rId5" Type="http://schemas.openxmlformats.org/officeDocument/2006/relationships/tags" Target="../tags/tag6.xml"/><Relationship Id="rId15" Type="http://schemas.openxmlformats.org/officeDocument/2006/relationships/image" Target="../media/image16.png"/><Relationship Id="rId10" Type="http://schemas.openxmlformats.org/officeDocument/2006/relationships/notesSlide" Target="../notesSlides/notesSlide1.xml"/><Relationship Id="rId4" Type="http://schemas.openxmlformats.org/officeDocument/2006/relationships/tags" Target="../tags/tag5.xml"/><Relationship Id="rId9" Type="http://schemas.openxmlformats.org/officeDocument/2006/relationships/slideLayout" Target="../slideLayouts/slideLayout70.xml"/><Relationship Id="rId1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3.png"/><Relationship Id="rId7" Type="http://schemas.openxmlformats.org/officeDocument/2006/relationships/image" Target="../media/image18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svg"/><Relationship Id="rId4" Type="http://schemas.openxmlformats.org/officeDocument/2006/relationships/image" Target="../media/image14.png"/><Relationship Id="rId9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5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B9EF6E-DBFA-86CB-8068-B59F11250F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>
            <a:extLst>
              <a:ext uri="{FF2B5EF4-FFF2-40B4-BE49-F238E27FC236}">
                <a16:creationId xmlns:a16="http://schemas.microsoft.com/office/drawing/2014/main" id="{538F7A2C-F9F9-853D-3501-05660C95FE03}"/>
              </a:ext>
            </a:extLst>
          </p:cNvPr>
          <p:cNvSpPr/>
          <p:nvPr/>
        </p:nvSpPr>
        <p:spPr>
          <a:xfrm>
            <a:off x="2856218" y="4920851"/>
            <a:ext cx="548640" cy="548640"/>
          </a:xfrm>
          <a:prstGeom prst="ellipse">
            <a:avLst/>
          </a:prstGeom>
          <a:solidFill>
            <a:srgbClr val="FFCC29">
              <a:alpha val="70000"/>
            </a:srgbClr>
          </a:solidFill>
          <a:ln>
            <a:noFill/>
          </a:ln>
          <a:effectLst>
            <a:softEdge rad="16510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8" name="Freeform 11">
            <a:extLst>
              <a:ext uri="{FF2B5EF4-FFF2-40B4-BE49-F238E27FC236}">
                <a16:creationId xmlns:a16="http://schemas.microsoft.com/office/drawing/2014/main" id="{4C6D07FE-D2D9-A625-ED8D-AB85CA59570C}"/>
              </a:ext>
            </a:extLst>
          </p:cNvPr>
          <p:cNvSpPr/>
          <p:nvPr/>
        </p:nvSpPr>
        <p:spPr>
          <a:xfrm>
            <a:off x="1466490" y="2884640"/>
            <a:ext cx="10512000" cy="4821"/>
          </a:xfrm>
          <a:custGeom>
            <a:avLst/>
            <a:gdLst>
              <a:gd name="connsiteX0" fmla="*/ 0 w 3895119"/>
              <a:gd name="connsiteY0" fmla="*/ 0 h 4821"/>
              <a:gd name="connsiteX1" fmla="*/ 3895120 w 3895119"/>
              <a:gd name="connsiteY1" fmla="*/ 0 h 4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95119" h="4821">
                <a:moveTo>
                  <a:pt x="0" y="0"/>
                </a:moveTo>
                <a:lnTo>
                  <a:pt x="3895120" y="0"/>
                </a:lnTo>
              </a:path>
            </a:pathLst>
          </a:custGeom>
          <a:ln w="139700" cap="rnd">
            <a:solidFill>
              <a:srgbClr val="EAEDE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73" name="Freeform 13">
            <a:extLst>
              <a:ext uri="{FF2B5EF4-FFF2-40B4-BE49-F238E27FC236}">
                <a16:creationId xmlns:a16="http://schemas.microsoft.com/office/drawing/2014/main" id="{E3F39FF1-0C86-6286-82B2-FB893B595484}"/>
              </a:ext>
            </a:extLst>
          </p:cNvPr>
          <p:cNvSpPr/>
          <p:nvPr/>
        </p:nvSpPr>
        <p:spPr>
          <a:xfrm>
            <a:off x="11564466" y="2827614"/>
            <a:ext cx="110221" cy="118872"/>
          </a:xfrm>
          <a:custGeom>
            <a:avLst/>
            <a:gdLst>
              <a:gd name="connsiteX0" fmla="*/ 0 w 110221"/>
              <a:gd name="connsiteY0" fmla="*/ 127242 h 127241"/>
              <a:gd name="connsiteX1" fmla="*/ 110221 w 110221"/>
              <a:gd name="connsiteY1" fmla="*/ 63645 h 127241"/>
              <a:gd name="connsiteX2" fmla="*/ 0 w 110221"/>
              <a:gd name="connsiteY2" fmla="*/ 0 h 127241"/>
              <a:gd name="connsiteX3" fmla="*/ 0 w 110221"/>
              <a:gd name="connsiteY3" fmla="*/ 127242 h 127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221" h="127241">
                <a:moveTo>
                  <a:pt x="0" y="127242"/>
                </a:moveTo>
                <a:lnTo>
                  <a:pt x="110221" y="63645"/>
                </a:lnTo>
                <a:lnTo>
                  <a:pt x="0" y="0"/>
                </a:lnTo>
                <a:lnTo>
                  <a:pt x="0" y="127242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 w="190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66" name="Freeform 12">
            <a:extLst>
              <a:ext uri="{FF2B5EF4-FFF2-40B4-BE49-F238E27FC236}">
                <a16:creationId xmlns:a16="http://schemas.microsoft.com/office/drawing/2014/main" id="{A2FD9F85-9813-448A-242A-70FBE166EE9C}"/>
              </a:ext>
            </a:extLst>
          </p:cNvPr>
          <p:cNvSpPr/>
          <p:nvPr/>
        </p:nvSpPr>
        <p:spPr>
          <a:xfrm>
            <a:off x="1790913" y="2884640"/>
            <a:ext cx="9784080" cy="4821"/>
          </a:xfrm>
          <a:custGeom>
            <a:avLst/>
            <a:gdLst>
              <a:gd name="connsiteX0" fmla="*/ 0 w 1595125"/>
              <a:gd name="connsiteY0" fmla="*/ 0 h 4821"/>
              <a:gd name="connsiteX1" fmla="*/ 1595126 w 1595125"/>
              <a:gd name="connsiteY1" fmla="*/ 0 h 4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595125" h="4821">
                <a:moveTo>
                  <a:pt x="0" y="0"/>
                </a:moveTo>
                <a:lnTo>
                  <a:pt x="1595126" y="0"/>
                </a:lnTo>
              </a:path>
            </a:pathLst>
          </a:custGeom>
          <a:ln w="12700" cap="flat">
            <a:solidFill>
              <a:schemeClr val="accent3">
                <a:lumMod val="60000"/>
                <a:lumOff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314" name="Freeform 18">
            <a:extLst>
              <a:ext uri="{FF2B5EF4-FFF2-40B4-BE49-F238E27FC236}">
                <a16:creationId xmlns:a16="http://schemas.microsoft.com/office/drawing/2014/main" id="{FAE59012-8DB7-72D5-3566-F9973684E9EC}"/>
              </a:ext>
            </a:extLst>
          </p:cNvPr>
          <p:cNvSpPr/>
          <p:nvPr/>
        </p:nvSpPr>
        <p:spPr>
          <a:xfrm>
            <a:off x="3535724" y="2818470"/>
            <a:ext cx="457200" cy="137160"/>
          </a:xfrm>
          <a:prstGeom prst="flowChartTerminator">
            <a:avLst/>
          </a:prstGeom>
          <a:solidFill>
            <a:srgbClr val="0088CE"/>
          </a:solidFill>
          <a:ln w="190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315" name="Freeform 28">
            <a:extLst>
              <a:ext uri="{FF2B5EF4-FFF2-40B4-BE49-F238E27FC236}">
                <a16:creationId xmlns:a16="http://schemas.microsoft.com/office/drawing/2014/main" id="{D700D36E-5CDB-EC6C-34A5-C3D9B6B1B178}"/>
              </a:ext>
            </a:extLst>
          </p:cNvPr>
          <p:cNvSpPr/>
          <p:nvPr/>
        </p:nvSpPr>
        <p:spPr>
          <a:xfrm>
            <a:off x="8772557" y="2818470"/>
            <a:ext cx="457200" cy="137160"/>
          </a:xfrm>
          <a:prstGeom prst="flowChartTerminator">
            <a:avLst/>
          </a:prstGeom>
          <a:solidFill>
            <a:srgbClr val="0033A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327" name="Freeform 18">
            <a:extLst>
              <a:ext uri="{FF2B5EF4-FFF2-40B4-BE49-F238E27FC236}">
                <a16:creationId xmlns:a16="http://schemas.microsoft.com/office/drawing/2014/main" id="{294E9C0D-745B-2A74-A0DF-C29F5FA6D313}"/>
              </a:ext>
            </a:extLst>
          </p:cNvPr>
          <p:cNvSpPr/>
          <p:nvPr/>
        </p:nvSpPr>
        <p:spPr>
          <a:xfrm>
            <a:off x="1790113" y="2818470"/>
            <a:ext cx="457200" cy="137160"/>
          </a:xfrm>
          <a:prstGeom prst="flowChartTerminator">
            <a:avLst/>
          </a:prstGeom>
          <a:solidFill>
            <a:schemeClr val="accent3">
              <a:lumMod val="60000"/>
              <a:lumOff val="40000"/>
            </a:schemeClr>
          </a:solidFill>
          <a:ln w="190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328" name="Freeform 19">
            <a:extLst>
              <a:ext uri="{FF2B5EF4-FFF2-40B4-BE49-F238E27FC236}">
                <a16:creationId xmlns:a16="http://schemas.microsoft.com/office/drawing/2014/main" id="{B9FAC378-5927-3BD0-11BC-C699357B6684}"/>
              </a:ext>
            </a:extLst>
          </p:cNvPr>
          <p:cNvSpPr/>
          <p:nvPr/>
        </p:nvSpPr>
        <p:spPr>
          <a:xfrm>
            <a:off x="5281335" y="2818470"/>
            <a:ext cx="457200" cy="137160"/>
          </a:xfrm>
          <a:prstGeom prst="flowChartTerminator">
            <a:avLst/>
          </a:prstGeom>
          <a:solidFill>
            <a:srgbClr val="0071C6"/>
          </a:solidFill>
          <a:ln w="190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329" name="Freeform 28">
            <a:extLst>
              <a:ext uri="{FF2B5EF4-FFF2-40B4-BE49-F238E27FC236}">
                <a16:creationId xmlns:a16="http://schemas.microsoft.com/office/drawing/2014/main" id="{010CFAD7-B47A-F130-C093-0A50759EA702}"/>
              </a:ext>
            </a:extLst>
          </p:cNvPr>
          <p:cNvSpPr/>
          <p:nvPr/>
        </p:nvSpPr>
        <p:spPr>
          <a:xfrm>
            <a:off x="10518168" y="2818470"/>
            <a:ext cx="457200" cy="137160"/>
          </a:xfrm>
          <a:prstGeom prst="flowChartTerminator">
            <a:avLst/>
          </a:prstGeom>
          <a:solidFill>
            <a:srgbClr val="00006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330" name="object 3">
            <a:extLst>
              <a:ext uri="{FF2B5EF4-FFF2-40B4-BE49-F238E27FC236}">
                <a16:creationId xmlns:a16="http://schemas.microsoft.com/office/drawing/2014/main" id="{9D26B198-14B9-8E8B-0D43-8446BC6E7F38}"/>
              </a:ext>
            </a:extLst>
          </p:cNvPr>
          <p:cNvSpPr txBox="1"/>
          <p:nvPr/>
        </p:nvSpPr>
        <p:spPr>
          <a:xfrm>
            <a:off x="1817409" y="2528195"/>
            <a:ext cx="1195994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lang="en-US" sz="1000" spc="50" dirty="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rPr>
              <a:t>Requirements</a:t>
            </a:r>
            <a:endParaRPr sz="1000" spc="50" dirty="0">
              <a:solidFill>
                <a:schemeClr val="tx2">
                  <a:lumMod val="75000"/>
                  <a:lumOff val="25000"/>
                </a:schemeClr>
              </a:solidFill>
              <a:latin typeface="Aptos SemiBold" panose="020B000402020202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331" name="object 3">
            <a:extLst>
              <a:ext uri="{FF2B5EF4-FFF2-40B4-BE49-F238E27FC236}">
                <a16:creationId xmlns:a16="http://schemas.microsoft.com/office/drawing/2014/main" id="{AF3F3D37-62CA-B419-4010-0841DDADC424}"/>
              </a:ext>
            </a:extLst>
          </p:cNvPr>
          <p:cNvSpPr txBox="1"/>
          <p:nvPr/>
        </p:nvSpPr>
        <p:spPr>
          <a:xfrm>
            <a:off x="3595497" y="2528195"/>
            <a:ext cx="1195994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lang="en-US" sz="1000" spc="50" dirty="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rPr>
              <a:t>Design</a:t>
            </a:r>
            <a:endParaRPr sz="1000" spc="50" dirty="0">
              <a:solidFill>
                <a:schemeClr val="tx2">
                  <a:lumMod val="75000"/>
                  <a:lumOff val="25000"/>
                </a:schemeClr>
              </a:solidFill>
              <a:latin typeface="Aptos SemiBold" panose="020B000402020202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332" name="object 3">
            <a:extLst>
              <a:ext uri="{FF2B5EF4-FFF2-40B4-BE49-F238E27FC236}">
                <a16:creationId xmlns:a16="http://schemas.microsoft.com/office/drawing/2014/main" id="{0D79E2E0-3905-5A45-6220-F3AB398F23CF}"/>
              </a:ext>
            </a:extLst>
          </p:cNvPr>
          <p:cNvSpPr txBox="1"/>
          <p:nvPr/>
        </p:nvSpPr>
        <p:spPr>
          <a:xfrm>
            <a:off x="5332641" y="2528195"/>
            <a:ext cx="1195994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lang="en-US" sz="1000" spc="50" dirty="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rPr>
              <a:t>Develop</a:t>
            </a:r>
            <a:endParaRPr sz="1000" spc="50" dirty="0">
              <a:solidFill>
                <a:schemeClr val="tx2">
                  <a:lumMod val="75000"/>
                  <a:lumOff val="25000"/>
                </a:schemeClr>
              </a:solidFill>
              <a:latin typeface="Aptos SemiBold" panose="020B000402020202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333" name="object 3">
            <a:extLst>
              <a:ext uri="{FF2B5EF4-FFF2-40B4-BE49-F238E27FC236}">
                <a16:creationId xmlns:a16="http://schemas.microsoft.com/office/drawing/2014/main" id="{C815288E-D9A0-97D6-FF19-79EEF2EAEF0A}"/>
              </a:ext>
            </a:extLst>
          </p:cNvPr>
          <p:cNvSpPr txBox="1"/>
          <p:nvPr/>
        </p:nvSpPr>
        <p:spPr>
          <a:xfrm>
            <a:off x="7069785" y="2528195"/>
            <a:ext cx="1195994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lang="en-US" sz="1000" spc="50" dirty="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rPr>
              <a:t>Test</a:t>
            </a:r>
            <a:endParaRPr sz="1000" spc="50" dirty="0">
              <a:solidFill>
                <a:schemeClr val="tx2">
                  <a:lumMod val="75000"/>
                  <a:lumOff val="25000"/>
                </a:schemeClr>
              </a:solidFill>
              <a:latin typeface="Aptos SemiBold" panose="020B000402020202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334" name="object 3">
            <a:extLst>
              <a:ext uri="{FF2B5EF4-FFF2-40B4-BE49-F238E27FC236}">
                <a16:creationId xmlns:a16="http://schemas.microsoft.com/office/drawing/2014/main" id="{1B439C27-1E31-FC75-F8A5-0A73E47738BC}"/>
              </a:ext>
            </a:extLst>
          </p:cNvPr>
          <p:cNvSpPr txBox="1"/>
          <p:nvPr/>
        </p:nvSpPr>
        <p:spPr>
          <a:xfrm>
            <a:off x="8786457" y="2528195"/>
            <a:ext cx="1195994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lang="en-US" sz="1000" spc="50" dirty="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rPr>
              <a:t>Deploy</a:t>
            </a:r>
            <a:endParaRPr sz="1000" spc="50" dirty="0">
              <a:solidFill>
                <a:schemeClr val="tx2">
                  <a:lumMod val="75000"/>
                  <a:lumOff val="25000"/>
                </a:schemeClr>
              </a:solidFill>
              <a:latin typeface="Aptos SemiBold" panose="020B000402020202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335" name="object 3">
            <a:extLst>
              <a:ext uri="{FF2B5EF4-FFF2-40B4-BE49-F238E27FC236}">
                <a16:creationId xmlns:a16="http://schemas.microsoft.com/office/drawing/2014/main" id="{D0CFA946-E93D-697E-632B-B4B2D6AEBD90}"/>
              </a:ext>
            </a:extLst>
          </p:cNvPr>
          <p:cNvSpPr txBox="1"/>
          <p:nvPr/>
        </p:nvSpPr>
        <p:spPr>
          <a:xfrm>
            <a:off x="10523601" y="2528195"/>
            <a:ext cx="1195994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lang="en-US" sz="1000" spc="50" dirty="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rPr>
              <a:t>Monitor</a:t>
            </a:r>
            <a:endParaRPr sz="1000" spc="50" dirty="0">
              <a:solidFill>
                <a:schemeClr val="tx2">
                  <a:lumMod val="75000"/>
                  <a:lumOff val="25000"/>
                </a:schemeClr>
              </a:solidFill>
              <a:latin typeface="Aptos SemiBold" panose="020B000402020202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339" name="Freeform 19">
            <a:extLst>
              <a:ext uri="{FF2B5EF4-FFF2-40B4-BE49-F238E27FC236}">
                <a16:creationId xmlns:a16="http://schemas.microsoft.com/office/drawing/2014/main" id="{E57C0946-6D0A-A270-401C-56DBF493CABC}"/>
              </a:ext>
            </a:extLst>
          </p:cNvPr>
          <p:cNvSpPr/>
          <p:nvPr/>
        </p:nvSpPr>
        <p:spPr>
          <a:xfrm>
            <a:off x="7026946" y="2818470"/>
            <a:ext cx="457200" cy="137160"/>
          </a:xfrm>
          <a:prstGeom prst="flowChartTerminator">
            <a:avLst/>
          </a:prstGeom>
          <a:solidFill>
            <a:srgbClr val="0071C6"/>
          </a:solidFill>
          <a:ln w="190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340" name="Freeform 13">
            <a:extLst>
              <a:ext uri="{FF2B5EF4-FFF2-40B4-BE49-F238E27FC236}">
                <a16:creationId xmlns:a16="http://schemas.microsoft.com/office/drawing/2014/main" id="{18991D2C-041E-9251-7A39-D65694C6F411}"/>
              </a:ext>
            </a:extLst>
          </p:cNvPr>
          <p:cNvSpPr/>
          <p:nvPr/>
        </p:nvSpPr>
        <p:spPr>
          <a:xfrm>
            <a:off x="3296554" y="2827614"/>
            <a:ext cx="110221" cy="118872"/>
          </a:xfrm>
          <a:custGeom>
            <a:avLst/>
            <a:gdLst>
              <a:gd name="connsiteX0" fmla="*/ 0 w 110221"/>
              <a:gd name="connsiteY0" fmla="*/ 127242 h 127241"/>
              <a:gd name="connsiteX1" fmla="*/ 110221 w 110221"/>
              <a:gd name="connsiteY1" fmla="*/ 63645 h 127241"/>
              <a:gd name="connsiteX2" fmla="*/ 0 w 110221"/>
              <a:gd name="connsiteY2" fmla="*/ 0 h 127241"/>
              <a:gd name="connsiteX3" fmla="*/ 0 w 110221"/>
              <a:gd name="connsiteY3" fmla="*/ 127242 h 127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221" h="127241">
                <a:moveTo>
                  <a:pt x="0" y="127242"/>
                </a:moveTo>
                <a:lnTo>
                  <a:pt x="110221" y="63645"/>
                </a:lnTo>
                <a:lnTo>
                  <a:pt x="0" y="0"/>
                </a:lnTo>
                <a:lnTo>
                  <a:pt x="0" y="127242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 w="190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341" name="Freeform 13">
            <a:extLst>
              <a:ext uri="{FF2B5EF4-FFF2-40B4-BE49-F238E27FC236}">
                <a16:creationId xmlns:a16="http://schemas.microsoft.com/office/drawing/2014/main" id="{44B96345-4DB6-5F32-F8EB-8A51512DAFFA}"/>
              </a:ext>
            </a:extLst>
          </p:cNvPr>
          <p:cNvSpPr/>
          <p:nvPr/>
        </p:nvSpPr>
        <p:spPr>
          <a:xfrm>
            <a:off x="5018567" y="2827614"/>
            <a:ext cx="110221" cy="118872"/>
          </a:xfrm>
          <a:custGeom>
            <a:avLst/>
            <a:gdLst>
              <a:gd name="connsiteX0" fmla="*/ 0 w 110221"/>
              <a:gd name="connsiteY0" fmla="*/ 127242 h 127241"/>
              <a:gd name="connsiteX1" fmla="*/ 110221 w 110221"/>
              <a:gd name="connsiteY1" fmla="*/ 63645 h 127241"/>
              <a:gd name="connsiteX2" fmla="*/ 0 w 110221"/>
              <a:gd name="connsiteY2" fmla="*/ 0 h 127241"/>
              <a:gd name="connsiteX3" fmla="*/ 0 w 110221"/>
              <a:gd name="connsiteY3" fmla="*/ 127242 h 127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221" h="127241">
                <a:moveTo>
                  <a:pt x="0" y="127242"/>
                </a:moveTo>
                <a:lnTo>
                  <a:pt x="110221" y="63645"/>
                </a:lnTo>
                <a:lnTo>
                  <a:pt x="0" y="0"/>
                </a:lnTo>
                <a:lnTo>
                  <a:pt x="0" y="127242"/>
                </a:lnTo>
                <a:close/>
              </a:path>
            </a:pathLst>
          </a:custGeom>
          <a:solidFill>
            <a:srgbClr val="0088CE"/>
          </a:solidFill>
          <a:ln w="190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342" name="Freeform 13">
            <a:extLst>
              <a:ext uri="{FF2B5EF4-FFF2-40B4-BE49-F238E27FC236}">
                <a16:creationId xmlns:a16="http://schemas.microsoft.com/office/drawing/2014/main" id="{204DDD8F-C983-2940-ECB1-F440803F1490}"/>
              </a:ext>
            </a:extLst>
          </p:cNvPr>
          <p:cNvSpPr/>
          <p:nvPr/>
        </p:nvSpPr>
        <p:spPr>
          <a:xfrm>
            <a:off x="6715010" y="2827614"/>
            <a:ext cx="110221" cy="118872"/>
          </a:xfrm>
          <a:custGeom>
            <a:avLst/>
            <a:gdLst>
              <a:gd name="connsiteX0" fmla="*/ 0 w 110221"/>
              <a:gd name="connsiteY0" fmla="*/ 127242 h 127241"/>
              <a:gd name="connsiteX1" fmla="*/ 110221 w 110221"/>
              <a:gd name="connsiteY1" fmla="*/ 63645 h 127241"/>
              <a:gd name="connsiteX2" fmla="*/ 0 w 110221"/>
              <a:gd name="connsiteY2" fmla="*/ 0 h 127241"/>
              <a:gd name="connsiteX3" fmla="*/ 0 w 110221"/>
              <a:gd name="connsiteY3" fmla="*/ 127242 h 127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221" h="127241">
                <a:moveTo>
                  <a:pt x="0" y="127242"/>
                </a:moveTo>
                <a:lnTo>
                  <a:pt x="110221" y="63645"/>
                </a:lnTo>
                <a:lnTo>
                  <a:pt x="0" y="0"/>
                </a:lnTo>
                <a:lnTo>
                  <a:pt x="0" y="127242"/>
                </a:lnTo>
                <a:close/>
              </a:path>
            </a:pathLst>
          </a:custGeom>
          <a:solidFill>
            <a:srgbClr val="0071C6"/>
          </a:solidFill>
          <a:ln w="190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343" name="Freeform 13">
            <a:extLst>
              <a:ext uri="{FF2B5EF4-FFF2-40B4-BE49-F238E27FC236}">
                <a16:creationId xmlns:a16="http://schemas.microsoft.com/office/drawing/2014/main" id="{6F6E234E-21C2-51D3-FD95-27E29936DF47}"/>
              </a:ext>
            </a:extLst>
          </p:cNvPr>
          <p:cNvSpPr/>
          <p:nvPr/>
        </p:nvSpPr>
        <p:spPr>
          <a:xfrm>
            <a:off x="8460621" y="2827614"/>
            <a:ext cx="110221" cy="118872"/>
          </a:xfrm>
          <a:custGeom>
            <a:avLst/>
            <a:gdLst>
              <a:gd name="connsiteX0" fmla="*/ 0 w 110221"/>
              <a:gd name="connsiteY0" fmla="*/ 127242 h 127241"/>
              <a:gd name="connsiteX1" fmla="*/ 110221 w 110221"/>
              <a:gd name="connsiteY1" fmla="*/ 63645 h 127241"/>
              <a:gd name="connsiteX2" fmla="*/ 0 w 110221"/>
              <a:gd name="connsiteY2" fmla="*/ 0 h 127241"/>
              <a:gd name="connsiteX3" fmla="*/ 0 w 110221"/>
              <a:gd name="connsiteY3" fmla="*/ 127242 h 127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221" h="127241">
                <a:moveTo>
                  <a:pt x="0" y="127242"/>
                </a:moveTo>
                <a:lnTo>
                  <a:pt x="110221" y="63645"/>
                </a:lnTo>
                <a:lnTo>
                  <a:pt x="0" y="0"/>
                </a:lnTo>
                <a:lnTo>
                  <a:pt x="0" y="127242"/>
                </a:lnTo>
                <a:close/>
              </a:path>
            </a:pathLst>
          </a:custGeom>
          <a:solidFill>
            <a:srgbClr val="0071C6"/>
          </a:solidFill>
          <a:ln w="190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344" name="Freeform 13">
            <a:extLst>
              <a:ext uri="{FF2B5EF4-FFF2-40B4-BE49-F238E27FC236}">
                <a16:creationId xmlns:a16="http://schemas.microsoft.com/office/drawing/2014/main" id="{B011FF90-305A-7A28-0140-53589603603C}"/>
              </a:ext>
            </a:extLst>
          </p:cNvPr>
          <p:cNvSpPr/>
          <p:nvPr/>
        </p:nvSpPr>
        <p:spPr>
          <a:xfrm>
            <a:off x="10223937" y="2827614"/>
            <a:ext cx="110221" cy="118872"/>
          </a:xfrm>
          <a:custGeom>
            <a:avLst/>
            <a:gdLst>
              <a:gd name="connsiteX0" fmla="*/ 0 w 110221"/>
              <a:gd name="connsiteY0" fmla="*/ 127242 h 127241"/>
              <a:gd name="connsiteX1" fmla="*/ 110221 w 110221"/>
              <a:gd name="connsiteY1" fmla="*/ 63645 h 127241"/>
              <a:gd name="connsiteX2" fmla="*/ 0 w 110221"/>
              <a:gd name="connsiteY2" fmla="*/ 0 h 127241"/>
              <a:gd name="connsiteX3" fmla="*/ 0 w 110221"/>
              <a:gd name="connsiteY3" fmla="*/ 127242 h 127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221" h="127241">
                <a:moveTo>
                  <a:pt x="0" y="127242"/>
                </a:moveTo>
                <a:lnTo>
                  <a:pt x="110221" y="63645"/>
                </a:lnTo>
                <a:lnTo>
                  <a:pt x="0" y="0"/>
                </a:lnTo>
                <a:lnTo>
                  <a:pt x="0" y="127242"/>
                </a:lnTo>
                <a:close/>
              </a:path>
            </a:pathLst>
          </a:custGeom>
          <a:solidFill>
            <a:srgbClr val="0033A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386" name="object 2">
            <a:extLst>
              <a:ext uri="{FF2B5EF4-FFF2-40B4-BE49-F238E27FC236}">
                <a16:creationId xmlns:a16="http://schemas.microsoft.com/office/drawing/2014/main" id="{BA5310F4-E4F5-17B4-8766-234D9469497C}"/>
              </a:ext>
            </a:extLst>
          </p:cNvPr>
          <p:cNvSpPr txBox="1"/>
          <p:nvPr/>
        </p:nvSpPr>
        <p:spPr>
          <a:xfrm>
            <a:off x="1410529" y="3082124"/>
            <a:ext cx="1670911" cy="11903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82880" marR="5080" indent="-182880">
              <a:lnSpc>
                <a:spcPct val="100600"/>
              </a:lnSpc>
              <a:buFont typeface="Wingdings" panose="05000000000000000000" pitchFamily="2" charset="2"/>
              <a:buChar char="ü"/>
            </a:pPr>
            <a:r>
              <a:rPr lang="en-US" sz="950" spc="60" dirty="0">
                <a:solidFill>
                  <a:srgbClr val="0033A0"/>
                </a:solidFill>
                <a:latin typeface="Aptos Light" panose="020B0004020202020204" pitchFamily="34" charset="0"/>
                <a:cs typeface="Calibri"/>
              </a:rPr>
              <a:t>Convert Req to Features to User Stories</a:t>
            </a:r>
          </a:p>
          <a:p>
            <a:pPr marL="182880" marR="5080" indent="-182880">
              <a:lnSpc>
                <a:spcPct val="100600"/>
              </a:lnSpc>
              <a:buFont typeface="Wingdings" panose="05000000000000000000" pitchFamily="2" charset="2"/>
              <a:buChar char="ü"/>
            </a:pPr>
            <a:r>
              <a:rPr lang="en-US" sz="950" spc="60" dirty="0">
                <a:solidFill>
                  <a:srgbClr val="0033A0"/>
                </a:solidFill>
                <a:latin typeface="Aptos Light" panose="020B0004020202020204" pitchFamily="34" charset="0"/>
                <a:cs typeface="Calibri"/>
              </a:rPr>
              <a:t>Prioritize and  Document requirements, Find interdependent  components </a:t>
            </a:r>
          </a:p>
          <a:p>
            <a:pPr marL="184150" marR="5080" indent="-171450">
              <a:lnSpc>
                <a:spcPct val="100600"/>
              </a:lnSpc>
              <a:buFont typeface="Arial" panose="020B0604020202020204" pitchFamily="34" charset="0"/>
              <a:buChar char="•"/>
            </a:pPr>
            <a:r>
              <a:rPr lang="en-US" sz="950" spc="60" dirty="0">
                <a:solidFill>
                  <a:schemeClr val="tx2"/>
                </a:solidFill>
                <a:latin typeface="Aptos Light" panose="020B0004020202020204" pitchFamily="34" charset="0"/>
                <a:cs typeface="Calibri"/>
              </a:rPr>
              <a:t>[ Elicit | Plan | Groom ] requirements</a:t>
            </a:r>
          </a:p>
        </p:txBody>
      </p:sp>
      <p:sp>
        <p:nvSpPr>
          <p:cNvPr id="387" name="object 2">
            <a:extLst>
              <a:ext uri="{FF2B5EF4-FFF2-40B4-BE49-F238E27FC236}">
                <a16:creationId xmlns:a16="http://schemas.microsoft.com/office/drawing/2014/main" id="{9060380B-360E-C12D-4E89-A8DA77B44417}"/>
              </a:ext>
            </a:extLst>
          </p:cNvPr>
          <p:cNvSpPr txBox="1"/>
          <p:nvPr/>
        </p:nvSpPr>
        <p:spPr>
          <a:xfrm>
            <a:off x="3127949" y="3082124"/>
            <a:ext cx="1750269" cy="13380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82880" marR="5080" indent="-182880">
              <a:lnSpc>
                <a:spcPct val="100600"/>
              </a:lnSpc>
              <a:buFont typeface="Wingdings" panose="05000000000000000000" pitchFamily="2" charset="2"/>
              <a:buChar char="ü"/>
            </a:pPr>
            <a:r>
              <a:rPr lang="en-US" sz="950" spc="60" dirty="0">
                <a:solidFill>
                  <a:srgbClr val="0033A0"/>
                </a:solidFill>
                <a:latin typeface="Aptos Light" panose="020B0004020202020204" pitchFamily="34" charset="0"/>
                <a:cs typeface="Calibri"/>
              </a:rPr>
              <a:t>Convert UX to UI </a:t>
            </a:r>
          </a:p>
          <a:p>
            <a:pPr marL="182880" marR="5080" indent="-182880">
              <a:lnSpc>
                <a:spcPct val="100600"/>
              </a:lnSpc>
              <a:buFont typeface="Wingdings" panose="05000000000000000000" pitchFamily="2" charset="2"/>
              <a:buChar char="ü"/>
            </a:pPr>
            <a:r>
              <a:rPr lang="en-US" sz="950" spc="60" dirty="0">
                <a:solidFill>
                  <a:srgbClr val="0033A0"/>
                </a:solidFill>
                <a:latin typeface="Aptos Light" panose="020B0004020202020204" pitchFamily="34" charset="0"/>
                <a:cs typeface="Calibri"/>
              </a:rPr>
              <a:t>Generate [ Data | UML | Sequence flow ] diagrams </a:t>
            </a:r>
          </a:p>
          <a:p>
            <a:pPr marL="182880" marR="5080" indent="-182880">
              <a:lnSpc>
                <a:spcPct val="100600"/>
              </a:lnSpc>
              <a:buFont typeface="Wingdings" panose="05000000000000000000" pitchFamily="2" charset="2"/>
              <a:buChar char="ü"/>
            </a:pPr>
            <a:r>
              <a:rPr lang="en-US" sz="950" spc="60" dirty="0">
                <a:solidFill>
                  <a:srgbClr val="0033A0"/>
                </a:solidFill>
                <a:latin typeface="Aptos Light" panose="020B0004020202020204" pitchFamily="34" charset="0"/>
                <a:cs typeface="Calibri"/>
              </a:rPr>
              <a:t>Identify shared components </a:t>
            </a:r>
          </a:p>
          <a:p>
            <a:pPr marL="182880" marR="5080" indent="-182880">
              <a:lnSpc>
                <a:spcPct val="100600"/>
              </a:lnSpc>
              <a:buFont typeface="Wingdings" panose="05000000000000000000" pitchFamily="2" charset="2"/>
              <a:buChar char="ü"/>
            </a:pPr>
            <a:r>
              <a:rPr lang="en-US" sz="950" spc="60" dirty="0">
                <a:solidFill>
                  <a:srgbClr val="0033A0"/>
                </a:solidFill>
                <a:latin typeface="Aptos Light" panose="020B0004020202020204" pitchFamily="34" charset="0"/>
                <a:cs typeface="Calibri"/>
              </a:rPr>
              <a:t>Well-architected compliance </a:t>
            </a:r>
          </a:p>
          <a:p>
            <a:pPr marL="182880" marR="5080" indent="-182880">
              <a:lnSpc>
                <a:spcPct val="100600"/>
              </a:lnSpc>
              <a:buFont typeface="Arial" panose="020B0604020202020204" pitchFamily="34" charset="0"/>
              <a:buChar char="•"/>
            </a:pPr>
            <a:r>
              <a:rPr lang="en-US" sz="950" spc="60" dirty="0">
                <a:solidFill>
                  <a:schemeClr val="tx2"/>
                </a:solidFill>
                <a:latin typeface="Aptos Light" panose="020B0004020202020204" pitchFamily="34" charset="0"/>
                <a:cs typeface="Calibri"/>
              </a:rPr>
              <a:t>Analyze for impact </a:t>
            </a:r>
          </a:p>
          <a:p>
            <a:pPr marL="182880" marR="5080" indent="-182880">
              <a:lnSpc>
                <a:spcPct val="100600"/>
              </a:lnSpc>
              <a:buFont typeface="Arial" panose="020B0604020202020204" pitchFamily="34" charset="0"/>
              <a:buChar char="•"/>
            </a:pPr>
            <a:r>
              <a:rPr lang="en-US" sz="950" spc="60" dirty="0">
                <a:solidFill>
                  <a:schemeClr val="tx2"/>
                </a:solidFill>
                <a:latin typeface="Aptos Light" panose="020B0004020202020204" pitchFamily="34" charset="0"/>
                <a:cs typeface="Calibri"/>
              </a:rPr>
              <a:t>Create Arch. blueprints</a:t>
            </a:r>
            <a:endParaRPr sz="950" spc="60" dirty="0">
              <a:solidFill>
                <a:schemeClr val="tx2"/>
              </a:solidFill>
              <a:latin typeface="Aptos Light" panose="020B0004020202020204" pitchFamily="34" charset="0"/>
              <a:cs typeface="Calibri"/>
            </a:endParaRPr>
          </a:p>
        </p:txBody>
      </p:sp>
      <p:sp>
        <p:nvSpPr>
          <p:cNvPr id="388" name="object 2">
            <a:extLst>
              <a:ext uri="{FF2B5EF4-FFF2-40B4-BE49-F238E27FC236}">
                <a16:creationId xmlns:a16="http://schemas.microsoft.com/office/drawing/2014/main" id="{31E35661-473E-E3D6-FECC-EE24C405A8CF}"/>
              </a:ext>
            </a:extLst>
          </p:cNvPr>
          <p:cNvSpPr txBox="1"/>
          <p:nvPr/>
        </p:nvSpPr>
        <p:spPr>
          <a:xfrm>
            <a:off x="4845371" y="3082124"/>
            <a:ext cx="1750270" cy="13380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defPPr>
              <a:defRPr lang="en-US"/>
            </a:defPPr>
            <a:lvl1pPr marL="182880" marR="5080" indent="-182880">
              <a:lnSpc>
                <a:spcPct val="100600"/>
              </a:lnSpc>
              <a:buFont typeface="Wingdings" panose="05000000000000000000" pitchFamily="2" charset="2"/>
              <a:buChar char="ü"/>
              <a:defRPr sz="900">
                <a:solidFill>
                  <a:srgbClr val="0033A0"/>
                </a:solidFill>
                <a:latin typeface="Source Sans Pro Light" panose="020B0403030403020204" pitchFamily="34" charset="0"/>
                <a:cs typeface="Calibri"/>
              </a:defRPr>
            </a:lvl1pPr>
          </a:lstStyle>
          <a:p>
            <a:r>
              <a:rPr lang="en-US" sz="950" spc="60" dirty="0">
                <a:latin typeface="Aptos Light" panose="020B0004020202020204" pitchFamily="34" charset="0"/>
              </a:rPr>
              <a:t>[ Generate | Refactor | Convert | Review |  Explain | Debug | Secure | Document ] code </a:t>
            </a:r>
          </a:p>
          <a:p>
            <a:r>
              <a:rPr lang="en-US" sz="950" spc="60" dirty="0">
                <a:latin typeface="Aptos Light" panose="020B0004020202020204" pitchFamily="34" charset="0"/>
              </a:rPr>
              <a:t>Fix defects,  Generate insights on code reusability </a:t>
            </a:r>
          </a:p>
          <a:p>
            <a:r>
              <a:rPr lang="en-US" sz="950" spc="60" dirty="0">
                <a:latin typeface="Aptos Light" panose="020B0004020202020204" pitchFamily="34" charset="0"/>
              </a:rPr>
              <a:t>Bootstrap code, Assist in pair programming </a:t>
            </a:r>
          </a:p>
        </p:txBody>
      </p:sp>
      <p:sp>
        <p:nvSpPr>
          <p:cNvPr id="389" name="object 2">
            <a:extLst>
              <a:ext uri="{FF2B5EF4-FFF2-40B4-BE49-F238E27FC236}">
                <a16:creationId xmlns:a16="http://schemas.microsoft.com/office/drawing/2014/main" id="{F0D9A652-AE07-CC46-41CD-10FDAF2195B4}"/>
              </a:ext>
            </a:extLst>
          </p:cNvPr>
          <p:cNvSpPr txBox="1"/>
          <p:nvPr/>
        </p:nvSpPr>
        <p:spPr>
          <a:xfrm>
            <a:off x="6717363" y="3082124"/>
            <a:ext cx="1750270" cy="13380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84150" marR="5080" indent="-171450">
              <a:lnSpc>
                <a:spcPct val="100600"/>
              </a:lnSpc>
              <a:buFont typeface="Wingdings" panose="05000000000000000000" pitchFamily="2" charset="2"/>
              <a:buChar char="ü"/>
            </a:pPr>
            <a:r>
              <a:rPr lang="en-US" sz="950" spc="60" dirty="0">
                <a:solidFill>
                  <a:srgbClr val="0033A0"/>
                </a:solidFill>
                <a:latin typeface="Aptos Light" panose="020B0004020202020204" pitchFamily="34" charset="0"/>
                <a:cs typeface="Calibri"/>
              </a:rPr>
              <a:t>Create [ Functional test cases | Test data | Automation scripts ]</a:t>
            </a:r>
          </a:p>
          <a:p>
            <a:pPr marL="182880" marR="5080" indent="-182880">
              <a:lnSpc>
                <a:spcPct val="100600"/>
              </a:lnSpc>
              <a:buFont typeface="Wingdings" panose="05000000000000000000" pitchFamily="2" charset="2"/>
              <a:buChar char="ü"/>
            </a:pPr>
            <a:r>
              <a:rPr lang="en-US" sz="950" spc="60" dirty="0">
                <a:solidFill>
                  <a:srgbClr val="0033A0"/>
                </a:solidFill>
                <a:latin typeface="Aptos Light" panose="020B0004020202020204" pitchFamily="34" charset="0"/>
                <a:cs typeface="Calibri"/>
              </a:rPr>
              <a:t>Create test assets</a:t>
            </a:r>
          </a:p>
          <a:p>
            <a:pPr marL="182880" marR="5080" indent="-182880">
              <a:lnSpc>
                <a:spcPct val="100600"/>
              </a:lnSpc>
              <a:buFont typeface="Arial" panose="020B0604020202020204" pitchFamily="34" charset="0"/>
              <a:buChar char="•"/>
            </a:pPr>
            <a:r>
              <a:rPr lang="en-US" sz="950" spc="60" dirty="0">
                <a:solidFill>
                  <a:schemeClr val="tx2"/>
                </a:solidFill>
                <a:latin typeface="Aptos Light" panose="020B0004020202020204" pitchFamily="34" charset="0"/>
                <a:cs typeface="Calibri"/>
              </a:rPr>
              <a:t>Predict Defects &amp; Hotspots</a:t>
            </a:r>
          </a:p>
          <a:p>
            <a:pPr marL="182880" marR="5080" indent="-182880">
              <a:lnSpc>
                <a:spcPct val="100600"/>
              </a:lnSpc>
              <a:buFont typeface="Arial" panose="020B0604020202020204" pitchFamily="34" charset="0"/>
              <a:buChar char="•"/>
            </a:pPr>
            <a:r>
              <a:rPr lang="en-US" sz="950" spc="60" dirty="0">
                <a:solidFill>
                  <a:schemeClr val="tx2"/>
                </a:solidFill>
                <a:latin typeface="Aptos Light" panose="020B0004020202020204" pitchFamily="34" charset="0"/>
                <a:cs typeface="Calibri"/>
              </a:rPr>
              <a:t>Generate quality insights </a:t>
            </a:r>
          </a:p>
          <a:p>
            <a:pPr marL="182880" marR="5080" indent="-182880">
              <a:lnSpc>
                <a:spcPct val="100600"/>
              </a:lnSpc>
              <a:buFont typeface="Arial" panose="020B0604020202020204" pitchFamily="34" charset="0"/>
              <a:buChar char="•"/>
            </a:pPr>
            <a:r>
              <a:rPr lang="en-US" sz="950" spc="60" dirty="0">
                <a:solidFill>
                  <a:schemeClr val="tx2"/>
                </a:solidFill>
                <a:latin typeface="Aptos Light" panose="020B0004020202020204" pitchFamily="34" charset="0"/>
                <a:cs typeface="Calibri"/>
              </a:rPr>
              <a:t>Optimize regression test cases </a:t>
            </a:r>
            <a:endParaRPr sz="950" spc="60" dirty="0">
              <a:solidFill>
                <a:schemeClr val="tx2"/>
              </a:solidFill>
              <a:latin typeface="Aptos Light" panose="020B0004020202020204" pitchFamily="34" charset="0"/>
              <a:cs typeface="Calibri"/>
            </a:endParaRPr>
          </a:p>
        </p:txBody>
      </p:sp>
      <p:sp>
        <p:nvSpPr>
          <p:cNvPr id="390" name="object 2">
            <a:extLst>
              <a:ext uri="{FF2B5EF4-FFF2-40B4-BE49-F238E27FC236}">
                <a16:creationId xmlns:a16="http://schemas.microsoft.com/office/drawing/2014/main" id="{953B8FCF-7BD3-71A8-211F-1A052DA5A87B}"/>
              </a:ext>
            </a:extLst>
          </p:cNvPr>
          <p:cNvSpPr txBox="1"/>
          <p:nvPr/>
        </p:nvSpPr>
        <p:spPr>
          <a:xfrm>
            <a:off x="8514143" y="3082124"/>
            <a:ext cx="1640971" cy="104272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82880" marR="5080" indent="-182880">
              <a:lnSpc>
                <a:spcPct val="100600"/>
              </a:lnSpc>
              <a:buFont typeface="Wingdings" panose="05000000000000000000" pitchFamily="2" charset="2"/>
              <a:buChar char="ü"/>
            </a:pPr>
            <a:r>
              <a:rPr lang="en-US" sz="950" spc="60" dirty="0">
                <a:solidFill>
                  <a:srgbClr val="0033A0"/>
                </a:solidFill>
                <a:latin typeface="Aptos Light" panose="020B0004020202020204" pitchFamily="34" charset="0"/>
                <a:cs typeface="Calibri"/>
              </a:rPr>
              <a:t>Generate [ </a:t>
            </a:r>
            <a:r>
              <a:rPr lang="en-US" sz="950" spc="60" dirty="0" err="1">
                <a:solidFill>
                  <a:srgbClr val="0033A0"/>
                </a:solidFill>
                <a:latin typeface="Aptos Light" panose="020B0004020202020204" pitchFamily="34" charset="0"/>
                <a:cs typeface="Calibri"/>
              </a:rPr>
              <a:t>IaC</a:t>
            </a:r>
            <a:r>
              <a:rPr lang="en-US" sz="950" spc="60" dirty="0">
                <a:solidFill>
                  <a:srgbClr val="0033A0"/>
                </a:solidFill>
                <a:latin typeface="Aptos Light" panose="020B0004020202020204" pitchFamily="34" charset="0"/>
                <a:cs typeface="Calibri"/>
              </a:rPr>
              <a:t> | DevOps pipeline | Code deployment ] scripts</a:t>
            </a:r>
          </a:p>
          <a:p>
            <a:pPr marL="182880" marR="5080" indent="-182880">
              <a:lnSpc>
                <a:spcPct val="100600"/>
              </a:lnSpc>
              <a:buFont typeface="Wingdings" panose="05000000000000000000" pitchFamily="2" charset="2"/>
              <a:buChar char="ü"/>
            </a:pPr>
            <a:r>
              <a:rPr lang="en-US" sz="950" spc="60" dirty="0">
                <a:solidFill>
                  <a:srgbClr val="0033A0"/>
                </a:solidFill>
                <a:latin typeface="Aptos Light" panose="020B0004020202020204" pitchFamily="34" charset="0"/>
                <a:cs typeface="Calibri"/>
              </a:rPr>
              <a:t>Create Container images</a:t>
            </a:r>
          </a:p>
          <a:p>
            <a:pPr marL="182880" marR="5080" indent="-182880">
              <a:lnSpc>
                <a:spcPct val="100600"/>
              </a:lnSpc>
              <a:buFont typeface="Wingdings" panose="05000000000000000000" pitchFamily="2" charset="2"/>
              <a:buChar char="ü"/>
            </a:pPr>
            <a:r>
              <a:rPr lang="en-US" sz="950" spc="60" dirty="0">
                <a:solidFill>
                  <a:srgbClr val="0033A0"/>
                </a:solidFill>
                <a:latin typeface="Aptos Light" panose="020B0004020202020204" pitchFamily="34" charset="0"/>
                <a:cs typeface="Calibri"/>
              </a:rPr>
              <a:t>Generate Release notes, Status updates &amp; Training </a:t>
            </a:r>
            <a:r>
              <a:rPr lang="en-US" sz="950" spc="60">
                <a:solidFill>
                  <a:srgbClr val="0033A0"/>
                </a:solidFill>
                <a:latin typeface="Aptos Light" panose="020B0004020202020204" pitchFamily="34" charset="0"/>
                <a:cs typeface="Calibri"/>
              </a:rPr>
              <a:t>materials </a:t>
            </a:r>
            <a:endParaRPr lang="en-US" sz="950" spc="60" dirty="0">
              <a:solidFill>
                <a:srgbClr val="0033A0"/>
              </a:solidFill>
              <a:latin typeface="Aptos Light" panose="020B0004020202020204" pitchFamily="34" charset="0"/>
              <a:cs typeface="Calibri"/>
            </a:endParaRPr>
          </a:p>
        </p:txBody>
      </p:sp>
      <p:sp>
        <p:nvSpPr>
          <p:cNvPr id="391" name="object 2">
            <a:extLst>
              <a:ext uri="{FF2B5EF4-FFF2-40B4-BE49-F238E27FC236}">
                <a16:creationId xmlns:a16="http://schemas.microsoft.com/office/drawing/2014/main" id="{38AB3F33-9DF8-AFE7-B2D3-0B2777309B9C}"/>
              </a:ext>
            </a:extLst>
          </p:cNvPr>
          <p:cNvSpPr txBox="1"/>
          <p:nvPr/>
        </p:nvSpPr>
        <p:spPr>
          <a:xfrm>
            <a:off x="10334617" y="3082124"/>
            <a:ext cx="1556033" cy="11903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84150" marR="5080" indent="-171450">
              <a:lnSpc>
                <a:spcPct val="100600"/>
              </a:lnSpc>
              <a:buFont typeface="Arial" panose="020B0604020202020204" pitchFamily="34" charset="0"/>
              <a:buChar char="•"/>
            </a:pPr>
            <a:r>
              <a:rPr lang="en-US" sz="950" spc="60" dirty="0">
                <a:solidFill>
                  <a:schemeClr val="tx2"/>
                </a:solidFill>
                <a:latin typeface="Aptos Light" panose="020B0004020202020204" pitchFamily="34" charset="0"/>
                <a:cs typeface="Calibri"/>
              </a:rPr>
              <a:t>Assist in Observability &amp; Site Reliability Engg.</a:t>
            </a:r>
          </a:p>
          <a:p>
            <a:pPr marL="184150" marR="5080" indent="-171450">
              <a:lnSpc>
                <a:spcPct val="100600"/>
              </a:lnSpc>
              <a:buFont typeface="Arial" panose="020B0604020202020204" pitchFamily="34" charset="0"/>
              <a:buChar char="•"/>
            </a:pPr>
            <a:r>
              <a:rPr lang="en-US" sz="950" spc="60" dirty="0">
                <a:solidFill>
                  <a:schemeClr val="tx2"/>
                </a:solidFill>
                <a:latin typeface="Aptos Light" panose="020B0004020202020204" pitchFamily="34" charset="0"/>
                <a:cs typeface="Calibri"/>
              </a:rPr>
              <a:t>Assist in FinOps</a:t>
            </a:r>
          </a:p>
          <a:p>
            <a:pPr marL="184150" marR="5080" indent="-171450">
              <a:lnSpc>
                <a:spcPct val="100600"/>
              </a:lnSpc>
              <a:buFont typeface="Arial" panose="020B0604020202020204" pitchFamily="34" charset="0"/>
              <a:buChar char="•"/>
            </a:pPr>
            <a:r>
              <a:rPr lang="en-US" sz="950" spc="60" dirty="0">
                <a:solidFill>
                  <a:schemeClr val="tx2"/>
                </a:solidFill>
                <a:latin typeface="Aptos Light" panose="020B0004020202020204" pitchFamily="34" charset="0"/>
                <a:cs typeface="Calibri"/>
              </a:rPr>
              <a:t>Assist in Ops automation</a:t>
            </a:r>
          </a:p>
          <a:p>
            <a:pPr marL="184150" marR="5080" indent="-171450">
              <a:lnSpc>
                <a:spcPct val="100600"/>
              </a:lnSpc>
              <a:buFont typeface="Arial" panose="020B0604020202020204" pitchFamily="34" charset="0"/>
              <a:buChar char="•"/>
            </a:pPr>
            <a:r>
              <a:rPr lang="en-US" sz="950" spc="60" dirty="0">
                <a:solidFill>
                  <a:schemeClr val="tx2"/>
                </a:solidFill>
                <a:latin typeface="Aptos Light" panose="020B0004020202020204" pitchFamily="34" charset="0"/>
                <a:cs typeface="Calibri"/>
              </a:rPr>
              <a:t>Assist in Incident,  Service mgmt. and Self-help services   </a:t>
            </a:r>
            <a:endParaRPr sz="950" spc="60" dirty="0">
              <a:solidFill>
                <a:schemeClr val="tx2"/>
              </a:solidFill>
              <a:latin typeface="Aptos Light" panose="020B0004020202020204" pitchFamily="34" charset="0"/>
              <a:cs typeface="Calibri"/>
            </a:endParaRPr>
          </a:p>
        </p:txBody>
      </p:sp>
      <p:grpSp>
        <p:nvGrpSpPr>
          <p:cNvPr id="350" name="Graphic 1023">
            <a:extLst>
              <a:ext uri="{FF2B5EF4-FFF2-40B4-BE49-F238E27FC236}">
                <a16:creationId xmlns:a16="http://schemas.microsoft.com/office/drawing/2014/main" id="{047E1CD7-0150-7383-AA6F-58B40D361064}"/>
              </a:ext>
            </a:extLst>
          </p:cNvPr>
          <p:cNvGrpSpPr>
            <a:grpSpLocks noChangeAspect="1"/>
          </p:cNvGrpSpPr>
          <p:nvPr/>
        </p:nvGrpSpPr>
        <p:grpSpPr>
          <a:xfrm>
            <a:off x="2847603" y="5214505"/>
            <a:ext cx="292608" cy="315382"/>
            <a:chOff x="6075582" y="5524216"/>
            <a:chExt cx="509388" cy="549035"/>
          </a:xfrm>
          <a:noFill/>
        </p:grpSpPr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6307F067-2AF9-130F-7141-71935BC7A879}"/>
                </a:ext>
              </a:extLst>
            </p:cNvPr>
            <p:cNvSpPr/>
            <p:nvPr/>
          </p:nvSpPr>
          <p:spPr>
            <a:xfrm>
              <a:off x="6075582" y="5940171"/>
              <a:ext cx="509388" cy="133080"/>
            </a:xfrm>
            <a:custGeom>
              <a:avLst/>
              <a:gdLst>
                <a:gd name="connsiteX0" fmla="*/ 442848 w 509388"/>
                <a:gd name="connsiteY0" fmla="*/ 133081 h 133080"/>
                <a:gd name="connsiteX1" fmla="*/ 66541 w 509388"/>
                <a:gd name="connsiteY1" fmla="*/ 133081 h 133080"/>
                <a:gd name="connsiteX2" fmla="*/ 0 w 509388"/>
                <a:gd name="connsiteY2" fmla="*/ 66540 h 133080"/>
                <a:gd name="connsiteX3" fmla="*/ 0 w 509388"/>
                <a:gd name="connsiteY3" fmla="*/ 66540 h 133080"/>
                <a:gd name="connsiteX4" fmla="*/ 66541 w 509388"/>
                <a:gd name="connsiteY4" fmla="*/ 0 h 133080"/>
                <a:gd name="connsiteX5" fmla="*/ 442848 w 509388"/>
                <a:gd name="connsiteY5" fmla="*/ 0 h 133080"/>
                <a:gd name="connsiteX6" fmla="*/ 509388 w 509388"/>
                <a:gd name="connsiteY6" fmla="*/ 66540 h 133080"/>
                <a:gd name="connsiteX7" fmla="*/ 509388 w 509388"/>
                <a:gd name="connsiteY7" fmla="*/ 66540 h 133080"/>
                <a:gd name="connsiteX8" fmla="*/ 442848 w 509388"/>
                <a:gd name="connsiteY8" fmla="*/ 133081 h 133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9388" h="133080">
                  <a:moveTo>
                    <a:pt x="442848" y="133081"/>
                  </a:moveTo>
                  <a:lnTo>
                    <a:pt x="66541" y="133081"/>
                  </a:lnTo>
                  <a:cubicBezTo>
                    <a:pt x="29795" y="133081"/>
                    <a:pt x="0" y="103286"/>
                    <a:pt x="0" y="66540"/>
                  </a:cubicBezTo>
                  <a:lnTo>
                    <a:pt x="0" y="66540"/>
                  </a:lnTo>
                  <a:cubicBezTo>
                    <a:pt x="0" y="29795"/>
                    <a:pt x="29795" y="0"/>
                    <a:pt x="66541" y="0"/>
                  </a:cubicBezTo>
                  <a:lnTo>
                    <a:pt x="442848" y="0"/>
                  </a:lnTo>
                  <a:cubicBezTo>
                    <a:pt x="479593" y="0"/>
                    <a:pt x="509388" y="29795"/>
                    <a:pt x="509388" y="66540"/>
                  </a:cubicBezTo>
                  <a:lnTo>
                    <a:pt x="509388" y="66540"/>
                  </a:lnTo>
                  <a:cubicBezTo>
                    <a:pt x="509388" y="103286"/>
                    <a:pt x="479593" y="133081"/>
                    <a:pt x="442848" y="133081"/>
                  </a:cubicBez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A9B9E92D-C244-0903-04C0-C6694343CEF0}"/>
                </a:ext>
              </a:extLst>
            </p:cNvPr>
            <p:cNvSpPr/>
            <p:nvPr/>
          </p:nvSpPr>
          <p:spPr>
            <a:xfrm>
              <a:off x="6114583" y="5979172"/>
              <a:ext cx="259290" cy="55078"/>
            </a:xfrm>
            <a:custGeom>
              <a:avLst/>
              <a:gdLst>
                <a:gd name="connsiteX0" fmla="*/ 0 w 259290"/>
                <a:gd name="connsiteY0" fmla="*/ 27539 h 55078"/>
                <a:gd name="connsiteX1" fmla="*/ 0 w 259290"/>
                <a:gd name="connsiteY1" fmla="*/ 27539 h 55078"/>
                <a:gd name="connsiteX2" fmla="*/ 27539 w 259290"/>
                <a:gd name="connsiteY2" fmla="*/ 0 h 55078"/>
                <a:gd name="connsiteX3" fmla="*/ 231751 w 259290"/>
                <a:gd name="connsiteY3" fmla="*/ 0 h 55078"/>
                <a:gd name="connsiteX4" fmla="*/ 259290 w 259290"/>
                <a:gd name="connsiteY4" fmla="*/ 27539 h 55078"/>
                <a:gd name="connsiteX5" fmla="*/ 259290 w 259290"/>
                <a:gd name="connsiteY5" fmla="*/ 27539 h 55078"/>
                <a:gd name="connsiteX6" fmla="*/ 231751 w 259290"/>
                <a:gd name="connsiteY6" fmla="*/ 55079 h 55078"/>
                <a:gd name="connsiteX7" fmla="*/ 27539 w 259290"/>
                <a:gd name="connsiteY7" fmla="*/ 55079 h 55078"/>
                <a:gd name="connsiteX8" fmla="*/ 0 w 259290"/>
                <a:gd name="connsiteY8" fmla="*/ 27539 h 5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290" h="55078">
                  <a:moveTo>
                    <a:pt x="0" y="27539"/>
                  </a:moveTo>
                  <a:lnTo>
                    <a:pt x="0" y="27539"/>
                  </a:lnTo>
                  <a:cubicBezTo>
                    <a:pt x="0" y="12332"/>
                    <a:pt x="12332" y="0"/>
                    <a:pt x="27539" y="0"/>
                  </a:cubicBezTo>
                  <a:lnTo>
                    <a:pt x="231751" y="0"/>
                  </a:lnTo>
                  <a:cubicBezTo>
                    <a:pt x="246958" y="0"/>
                    <a:pt x="259290" y="12332"/>
                    <a:pt x="259290" y="27539"/>
                  </a:cubicBezTo>
                  <a:lnTo>
                    <a:pt x="259290" y="27539"/>
                  </a:lnTo>
                  <a:cubicBezTo>
                    <a:pt x="259290" y="42747"/>
                    <a:pt x="246958" y="55079"/>
                    <a:pt x="231751" y="55079"/>
                  </a:cubicBezTo>
                  <a:lnTo>
                    <a:pt x="27539" y="55079"/>
                  </a:lnTo>
                  <a:cubicBezTo>
                    <a:pt x="12332" y="55079"/>
                    <a:pt x="0" y="42747"/>
                    <a:pt x="0" y="27539"/>
                  </a:cubicBez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grpSp>
          <p:nvGrpSpPr>
            <p:cNvPr id="353" name="Graphic 1023">
              <a:extLst>
                <a:ext uri="{FF2B5EF4-FFF2-40B4-BE49-F238E27FC236}">
                  <a16:creationId xmlns:a16="http://schemas.microsoft.com/office/drawing/2014/main" id="{D9D2CBFB-5054-FA62-1B1D-B1A688FE6656}"/>
                </a:ext>
              </a:extLst>
            </p:cNvPr>
            <p:cNvGrpSpPr/>
            <p:nvPr/>
          </p:nvGrpSpPr>
          <p:grpSpPr>
            <a:xfrm>
              <a:off x="6181375" y="5585362"/>
              <a:ext cx="277426" cy="277425"/>
              <a:chOff x="6181375" y="5585362"/>
              <a:chExt cx="277426" cy="277425"/>
            </a:xfrm>
            <a:noFill/>
          </p:grpSpPr>
          <p:sp>
            <p:nvSpPr>
              <p:cNvPr id="360" name="Freeform: Shape 359">
                <a:extLst>
                  <a:ext uri="{FF2B5EF4-FFF2-40B4-BE49-F238E27FC236}">
                    <a16:creationId xmlns:a16="http://schemas.microsoft.com/office/drawing/2014/main" id="{CEAD7BED-88FE-2A92-91C2-5FC36DC78A85}"/>
                  </a:ext>
                </a:extLst>
              </p:cNvPr>
              <p:cNvSpPr/>
              <p:nvPr/>
            </p:nvSpPr>
            <p:spPr>
              <a:xfrm>
                <a:off x="6181375" y="5585362"/>
                <a:ext cx="277426" cy="277425"/>
              </a:xfrm>
              <a:custGeom>
                <a:avLst/>
                <a:gdLst>
                  <a:gd name="connsiteX0" fmla="*/ 62412 w 277426"/>
                  <a:gd name="connsiteY0" fmla="*/ 258579 h 277425"/>
                  <a:gd name="connsiteX1" fmla="*/ 95333 w 277426"/>
                  <a:gd name="connsiteY1" fmla="*/ 274696 h 277425"/>
                  <a:gd name="connsiteX2" fmla="*/ 114563 w 277426"/>
                  <a:gd name="connsiteY2" fmla="*/ 242632 h 277425"/>
                  <a:gd name="connsiteX3" fmla="*/ 154857 w 277426"/>
                  <a:gd name="connsiteY3" fmla="*/ 244175 h 277425"/>
                  <a:gd name="connsiteX4" fmla="*/ 169510 w 277426"/>
                  <a:gd name="connsiteY4" fmla="*/ 277426 h 277425"/>
                  <a:gd name="connsiteX5" fmla="*/ 204185 w 277426"/>
                  <a:gd name="connsiteY5" fmla="*/ 265542 h 277425"/>
                  <a:gd name="connsiteX6" fmla="*/ 195111 w 277426"/>
                  <a:gd name="connsiteY6" fmla="*/ 229272 h 277425"/>
                  <a:gd name="connsiteX7" fmla="*/ 224695 w 277426"/>
                  <a:gd name="connsiteY7" fmla="*/ 201864 h 277425"/>
                  <a:gd name="connsiteX8" fmla="*/ 258578 w 277426"/>
                  <a:gd name="connsiteY8" fmla="*/ 215014 h 277425"/>
                  <a:gd name="connsiteX9" fmla="*/ 274696 w 277426"/>
                  <a:gd name="connsiteY9" fmla="*/ 182093 h 277425"/>
                  <a:gd name="connsiteX10" fmla="*/ 242632 w 277426"/>
                  <a:gd name="connsiteY10" fmla="*/ 162863 h 277425"/>
                  <a:gd name="connsiteX11" fmla="*/ 244176 w 277426"/>
                  <a:gd name="connsiteY11" fmla="*/ 122569 h 277425"/>
                  <a:gd name="connsiteX12" fmla="*/ 277426 w 277426"/>
                  <a:gd name="connsiteY12" fmla="*/ 107916 h 277425"/>
                  <a:gd name="connsiteX13" fmla="*/ 265542 w 277426"/>
                  <a:gd name="connsiteY13" fmla="*/ 73241 h 277425"/>
                  <a:gd name="connsiteX14" fmla="*/ 229272 w 277426"/>
                  <a:gd name="connsiteY14" fmla="*/ 82315 h 277425"/>
                  <a:gd name="connsiteX15" fmla="*/ 201864 w 277426"/>
                  <a:gd name="connsiteY15" fmla="*/ 52731 h 277425"/>
                  <a:gd name="connsiteX16" fmla="*/ 215014 w 277426"/>
                  <a:gd name="connsiteY16" fmla="*/ 18848 h 277425"/>
                  <a:gd name="connsiteX17" fmla="*/ 182093 w 277426"/>
                  <a:gd name="connsiteY17" fmla="*/ 2730 h 277425"/>
                  <a:gd name="connsiteX18" fmla="*/ 162863 w 277426"/>
                  <a:gd name="connsiteY18" fmla="*/ 34794 h 277425"/>
                  <a:gd name="connsiteX19" fmla="*/ 122569 w 277426"/>
                  <a:gd name="connsiteY19" fmla="*/ 33250 h 277425"/>
                  <a:gd name="connsiteX20" fmla="*/ 107916 w 277426"/>
                  <a:gd name="connsiteY20" fmla="*/ 0 h 277425"/>
                  <a:gd name="connsiteX21" fmla="*/ 73241 w 277426"/>
                  <a:gd name="connsiteY21" fmla="*/ 11884 h 277425"/>
                  <a:gd name="connsiteX22" fmla="*/ 82315 w 277426"/>
                  <a:gd name="connsiteY22" fmla="*/ 48155 h 277425"/>
                  <a:gd name="connsiteX23" fmla="*/ 52731 w 277426"/>
                  <a:gd name="connsiteY23" fmla="*/ 75562 h 277425"/>
                  <a:gd name="connsiteX24" fmla="*/ 18848 w 277426"/>
                  <a:gd name="connsiteY24" fmla="*/ 62412 h 277425"/>
                  <a:gd name="connsiteX25" fmla="*/ 2730 w 277426"/>
                  <a:gd name="connsiteY25" fmla="*/ 95333 h 277425"/>
                  <a:gd name="connsiteX26" fmla="*/ 34794 w 277426"/>
                  <a:gd name="connsiteY26" fmla="*/ 114563 h 277425"/>
                  <a:gd name="connsiteX27" fmla="*/ 33250 w 277426"/>
                  <a:gd name="connsiteY27" fmla="*/ 154857 h 277425"/>
                  <a:gd name="connsiteX28" fmla="*/ 0 w 277426"/>
                  <a:gd name="connsiteY28" fmla="*/ 169510 h 277425"/>
                  <a:gd name="connsiteX29" fmla="*/ 11884 w 277426"/>
                  <a:gd name="connsiteY29" fmla="*/ 204185 h 277425"/>
                  <a:gd name="connsiteX30" fmla="*/ 48155 w 277426"/>
                  <a:gd name="connsiteY30" fmla="*/ 195111 h 277425"/>
                  <a:gd name="connsiteX31" fmla="*/ 75562 w 277426"/>
                  <a:gd name="connsiteY31" fmla="*/ 224695 h 277425"/>
                  <a:gd name="connsiteX32" fmla="*/ 62412 w 277426"/>
                  <a:gd name="connsiteY32" fmla="*/ 258579 h 27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277426" h="277425">
                    <a:moveTo>
                      <a:pt x="62412" y="258579"/>
                    </a:moveTo>
                    <a:lnTo>
                      <a:pt x="95333" y="274696"/>
                    </a:lnTo>
                    <a:lnTo>
                      <a:pt x="114563" y="242632"/>
                    </a:lnTo>
                    <a:cubicBezTo>
                      <a:pt x="127990" y="245771"/>
                      <a:pt x="141654" y="246207"/>
                      <a:pt x="154857" y="244175"/>
                    </a:cubicBezTo>
                    <a:lnTo>
                      <a:pt x="169510" y="277426"/>
                    </a:lnTo>
                    <a:lnTo>
                      <a:pt x="204185" y="265542"/>
                    </a:lnTo>
                    <a:lnTo>
                      <a:pt x="195111" y="229272"/>
                    </a:lnTo>
                    <a:cubicBezTo>
                      <a:pt x="206427" y="222242"/>
                      <a:pt x="216517" y="213022"/>
                      <a:pt x="224695" y="201864"/>
                    </a:cubicBezTo>
                    <a:lnTo>
                      <a:pt x="258578" y="215014"/>
                    </a:lnTo>
                    <a:lnTo>
                      <a:pt x="274696" y="182093"/>
                    </a:lnTo>
                    <a:lnTo>
                      <a:pt x="242632" y="162863"/>
                    </a:lnTo>
                    <a:cubicBezTo>
                      <a:pt x="245772" y="149436"/>
                      <a:pt x="246207" y="135772"/>
                      <a:pt x="244176" y="122569"/>
                    </a:cubicBezTo>
                    <a:lnTo>
                      <a:pt x="277426" y="107916"/>
                    </a:lnTo>
                    <a:lnTo>
                      <a:pt x="265542" y="73241"/>
                    </a:lnTo>
                    <a:lnTo>
                      <a:pt x="229272" y="82315"/>
                    </a:lnTo>
                    <a:cubicBezTo>
                      <a:pt x="222242" y="70999"/>
                      <a:pt x="213022" y="60909"/>
                      <a:pt x="201864" y="52731"/>
                    </a:cubicBezTo>
                    <a:lnTo>
                      <a:pt x="215014" y="18848"/>
                    </a:lnTo>
                    <a:lnTo>
                      <a:pt x="182093" y="2730"/>
                    </a:lnTo>
                    <a:lnTo>
                      <a:pt x="162863" y="34794"/>
                    </a:lnTo>
                    <a:cubicBezTo>
                      <a:pt x="149436" y="31655"/>
                      <a:pt x="135772" y="31220"/>
                      <a:pt x="122569" y="33250"/>
                    </a:cubicBezTo>
                    <a:lnTo>
                      <a:pt x="107916" y="0"/>
                    </a:lnTo>
                    <a:lnTo>
                      <a:pt x="73241" y="11884"/>
                    </a:lnTo>
                    <a:lnTo>
                      <a:pt x="82315" y="48155"/>
                    </a:lnTo>
                    <a:cubicBezTo>
                      <a:pt x="70999" y="55185"/>
                      <a:pt x="60909" y="64404"/>
                      <a:pt x="52731" y="75562"/>
                    </a:cubicBezTo>
                    <a:lnTo>
                      <a:pt x="18848" y="62412"/>
                    </a:lnTo>
                    <a:lnTo>
                      <a:pt x="2730" y="95333"/>
                    </a:lnTo>
                    <a:lnTo>
                      <a:pt x="34794" y="114563"/>
                    </a:lnTo>
                    <a:cubicBezTo>
                      <a:pt x="31655" y="127990"/>
                      <a:pt x="31219" y="141654"/>
                      <a:pt x="33250" y="154857"/>
                    </a:cubicBezTo>
                    <a:lnTo>
                      <a:pt x="0" y="169510"/>
                    </a:lnTo>
                    <a:lnTo>
                      <a:pt x="11884" y="204185"/>
                    </a:lnTo>
                    <a:lnTo>
                      <a:pt x="48155" y="195111"/>
                    </a:lnTo>
                    <a:cubicBezTo>
                      <a:pt x="55185" y="206428"/>
                      <a:pt x="64404" y="216518"/>
                      <a:pt x="75562" y="224695"/>
                    </a:cubicBezTo>
                    <a:lnTo>
                      <a:pt x="62412" y="258579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361" name="Freeform: Shape 360">
                <a:extLst>
                  <a:ext uri="{FF2B5EF4-FFF2-40B4-BE49-F238E27FC236}">
                    <a16:creationId xmlns:a16="http://schemas.microsoft.com/office/drawing/2014/main" id="{C94AE88A-C223-BD2F-BCA8-DD580F3F1289}"/>
                  </a:ext>
                </a:extLst>
              </p:cNvPr>
              <p:cNvSpPr/>
              <p:nvPr/>
            </p:nvSpPr>
            <p:spPr>
              <a:xfrm rot="-181800">
                <a:off x="6248749" y="5651935"/>
                <a:ext cx="143527" cy="143527"/>
              </a:xfrm>
              <a:custGeom>
                <a:avLst/>
                <a:gdLst>
                  <a:gd name="connsiteX0" fmla="*/ 143528 w 143527"/>
                  <a:gd name="connsiteY0" fmla="*/ 71763 h 143527"/>
                  <a:gd name="connsiteX1" fmla="*/ 71764 w 143527"/>
                  <a:gd name="connsiteY1" fmla="*/ 143527 h 143527"/>
                  <a:gd name="connsiteX2" fmla="*/ 1 w 143527"/>
                  <a:gd name="connsiteY2" fmla="*/ 71763 h 143527"/>
                  <a:gd name="connsiteX3" fmla="*/ 71764 w 143527"/>
                  <a:gd name="connsiteY3" fmla="*/ 0 h 143527"/>
                  <a:gd name="connsiteX4" fmla="*/ 143528 w 143527"/>
                  <a:gd name="connsiteY4" fmla="*/ 71763 h 143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3527" h="143527">
                    <a:moveTo>
                      <a:pt x="143528" y="71763"/>
                    </a:moveTo>
                    <a:cubicBezTo>
                      <a:pt x="143528" y="111397"/>
                      <a:pt x="111398" y="143527"/>
                      <a:pt x="71764" y="143527"/>
                    </a:cubicBezTo>
                    <a:cubicBezTo>
                      <a:pt x="32130" y="143527"/>
                      <a:pt x="1" y="111397"/>
                      <a:pt x="1" y="71763"/>
                    </a:cubicBezTo>
                    <a:cubicBezTo>
                      <a:pt x="1" y="32129"/>
                      <a:pt x="32130" y="0"/>
                      <a:pt x="71764" y="0"/>
                    </a:cubicBezTo>
                    <a:cubicBezTo>
                      <a:pt x="111398" y="0"/>
                      <a:pt x="143528" y="32129"/>
                      <a:pt x="143528" y="71763"/>
                    </a:cubicBez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</p:grpSp>
        <p:grpSp>
          <p:nvGrpSpPr>
            <p:cNvPr id="354" name="Graphic 1023">
              <a:extLst>
                <a:ext uri="{FF2B5EF4-FFF2-40B4-BE49-F238E27FC236}">
                  <a16:creationId xmlns:a16="http://schemas.microsoft.com/office/drawing/2014/main" id="{E24843E7-9B7B-AA69-A91A-5FB8347CACE4}"/>
                </a:ext>
              </a:extLst>
            </p:cNvPr>
            <p:cNvGrpSpPr/>
            <p:nvPr/>
          </p:nvGrpSpPr>
          <p:grpSpPr>
            <a:xfrm>
              <a:off x="6255525" y="5524216"/>
              <a:ext cx="229561" cy="96506"/>
              <a:chOff x="6255525" y="5524216"/>
              <a:chExt cx="229561" cy="96506"/>
            </a:xfrm>
            <a:noFill/>
          </p:grpSpPr>
          <p:sp>
            <p:nvSpPr>
              <p:cNvPr id="358" name="Freeform: Shape 357">
                <a:extLst>
                  <a:ext uri="{FF2B5EF4-FFF2-40B4-BE49-F238E27FC236}">
                    <a16:creationId xmlns:a16="http://schemas.microsoft.com/office/drawing/2014/main" id="{8EAD9610-ED4A-66BC-26BD-AB867CE7B18F}"/>
                  </a:ext>
                </a:extLst>
              </p:cNvPr>
              <p:cNvSpPr/>
              <p:nvPr/>
            </p:nvSpPr>
            <p:spPr>
              <a:xfrm>
                <a:off x="6255525" y="5524216"/>
                <a:ext cx="229561" cy="96493"/>
              </a:xfrm>
              <a:custGeom>
                <a:avLst/>
                <a:gdLst>
                  <a:gd name="connsiteX0" fmla="*/ 0 w 229561"/>
                  <a:gd name="connsiteY0" fmla="*/ 12728 h 96493"/>
                  <a:gd name="connsiteX1" fmla="*/ 67438 w 229561"/>
                  <a:gd name="connsiteY1" fmla="*/ 0 h 96493"/>
                  <a:gd name="connsiteX2" fmla="*/ 229562 w 229561"/>
                  <a:gd name="connsiteY2" fmla="*/ 96494 h 96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9561" h="96493">
                    <a:moveTo>
                      <a:pt x="0" y="12728"/>
                    </a:moveTo>
                    <a:cubicBezTo>
                      <a:pt x="20892" y="4511"/>
                      <a:pt x="43631" y="0"/>
                      <a:pt x="67438" y="0"/>
                    </a:cubicBezTo>
                    <a:cubicBezTo>
                      <a:pt x="137447" y="0"/>
                      <a:pt x="198342" y="39014"/>
                      <a:pt x="229562" y="96494"/>
                    </a:cubicBezTo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359" name="Freeform: Shape 358">
                <a:extLst>
                  <a:ext uri="{FF2B5EF4-FFF2-40B4-BE49-F238E27FC236}">
                    <a16:creationId xmlns:a16="http://schemas.microsoft.com/office/drawing/2014/main" id="{C38DFB80-CAF5-C3BC-F37F-1870CE7B0B10}"/>
                  </a:ext>
                </a:extLst>
              </p:cNvPr>
              <p:cNvSpPr/>
              <p:nvPr/>
            </p:nvSpPr>
            <p:spPr>
              <a:xfrm>
                <a:off x="6434281" y="5565117"/>
                <a:ext cx="50805" cy="55606"/>
              </a:xfrm>
              <a:custGeom>
                <a:avLst/>
                <a:gdLst>
                  <a:gd name="connsiteX0" fmla="*/ 45517 w 50805"/>
                  <a:gd name="connsiteY0" fmla="*/ 0 h 55606"/>
                  <a:gd name="connsiteX1" fmla="*/ 48155 w 50805"/>
                  <a:gd name="connsiteY1" fmla="*/ 27803 h 55606"/>
                  <a:gd name="connsiteX2" fmla="*/ 50806 w 50805"/>
                  <a:gd name="connsiteY2" fmla="*/ 55606 h 55606"/>
                  <a:gd name="connsiteX3" fmla="*/ 25403 w 50805"/>
                  <a:gd name="connsiteY3" fmla="*/ 44000 h 55606"/>
                  <a:gd name="connsiteX4" fmla="*/ 0 w 50805"/>
                  <a:gd name="connsiteY4" fmla="*/ 32380 h 55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805" h="55606">
                    <a:moveTo>
                      <a:pt x="45517" y="0"/>
                    </a:moveTo>
                    <a:lnTo>
                      <a:pt x="48155" y="27803"/>
                    </a:lnTo>
                    <a:lnTo>
                      <a:pt x="50806" y="55606"/>
                    </a:lnTo>
                    <a:lnTo>
                      <a:pt x="25403" y="44000"/>
                    </a:lnTo>
                    <a:lnTo>
                      <a:pt x="0" y="32380"/>
                    </a:lnTo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</p:grpSp>
        <p:grpSp>
          <p:nvGrpSpPr>
            <p:cNvPr id="355" name="Graphic 1023">
              <a:extLst>
                <a:ext uri="{FF2B5EF4-FFF2-40B4-BE49-F238E27FC236}">
                  <a16:creationId xmlns:a16="http://schemas.microsoft.com/office/drawing/2014/main" id="{FA26EC96-0022-7590-B87E-AC693211DFB7}"/>
                </a:ext>
              </a:extLst>
            </p:cNvPr>
            <p:cNvGrpSpPr/>
            <p:nvPr/>
          </p:nvGrpSpPr>
          <p:grpSpPr>
            <a:xfrm>
              <a:off x="6122022" y="5774854"/>
              <a:ext cx="212085" cy="135485"/>
              <a:chOff x="6122022" y="5774854"/>
              <a:chExt cx="212085" cy="135485"/>
            </a:xfrm>
            <a:noFill/>
          </p:grpSpPr>
          <p:sp>
            <p:nvSpPr>
              <p:cNvPr id="356" name="Freeform: Shape 355">
                <a:extLst>
                  <a:ext uri="{FF2B5EF4-FFF2-40B4-BE49-F238E27FC236}">
                    <a16:creationId xmlns:a16="http://schemas.microsoft.com/office/drawing/2014/main" id="{19522018-4C09-AB88-56A2-D1E77F232ADA}"/>
                  </a:ext>
                </a:extLst>
              </p:cNvPr>
              <p:cNvSpPr/>
              <p:nvPr/>
            </p:nvSpPr>
            <p:spPr>
              <a:xfrm>
                <a:off x="6129435" y="5774854"/>
                <a:ext cx="204673" cy="135485"/>
              </a:xfrm>
              <a:custGeom>
                <a:avLst/>
                <a:gdLst>
                  <a:gd name="connsiteX0" fmla="*/ 204673 w 204673"/>
                  <a:gd name="connsiteY0" fmla="*/ 133530 h 135485"/>
                  <a:gd name="connsiteX1" fmla="*/ 136101 w 204673"/>
                  <a:gd name="connsiteY1" fmla="*/ 130668 h 135485"/>
                  <a:gd name="connsiteX2" fmla="*/ 0 w 204673"/>
                  <a:gd name="connsiteY2" fmla="*/ 0 h 135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4673" h="135485">
                    <a:moveTo>
                      <a:pt x="204673" y="133530"/>
                    </a:moveTo>
                    <a:cubicBezTo>
                      <a:pt x="182475" y="136801"/>
                      <a:pt x="159289" y="136049"/>
                      <a:pt x="136101" y="130668"/>
                    </a:cubicBezTo>
                    <a:cubicBezTo>
                      <a:pt x="67912" y="114827"/>
                      <a:pt x="17410" y="63046"/>
                      <a:pt x="0" y="0"/>
                    </a:cubicBezTo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357" name="Freeform: Shape 356">
                <a:extLst>
                  <a:ext uri="{FF2B5EF4-FFF2-40B4-BE49-F238E27FC236}">
                    <a16:creationId xmlns:a16="http://schemas.microsoft.com/office/drawing/2014/main" id="{772C613F-D478-299B-2905-6F8B19E86B16}"/>
                  </a:ext>
                </a:extLst>
              </p:cNvPr>
              <p:cNvSpPr/>
              <p:nvPr/>
            </p:nvSpPr>
            <p:spPr>
              <a:xfrm>
                <a:off x="6122022" y="5774868"/>
                <a:ext cx="51649" cy="55355"/>
              </a:xfrm>
              <a:custGeom>
                <a:avLst/>
                <a:gdLst>
                  <a:gd name="connsiteX0" fmla="*/ 0 w 51649"/>
                  <a:gd name="connsiteY0" fmla="*/ 55356 h 55355"/>
                  <a:gd name="connsiteX1" fmla="*/ 3706 w 51649"/>
                  <a:gd name="connsiteY1" fmla="*/ 27671 h 55355"/>
                  <a:gd name="connsiteX2" fmla="*/ 7426 w 51649"/>
                  <a:gd name="connsiteY2" fmla="*/ 0 h 55355"/>
                  <a:gd name="connsiteX3" fmla="*/ 29531 w 51649"/>
                  <a:gd name="connsiteY3" fmla="*/ 17053 h 55355"/>
                  <a:gd name="connsiteX4" fmla="*/ 51650 w 51649"/>
                  <a:gd name="connsiteY4" fmla="*/ 34108 h 5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649" h="55355">
                    <a:moveTo>
                      <a:pt x="0" y="55356"/>
                    </a:moveTo>
                    <a:lnTo>
                      <a:pt x="3706" y="27671"/>
                    </a:lnTo>
                    <a:lnTo>
                      <a:pt x="7426" y="0"/>
                    </a:lnTo>
                    <a:lnTo>
                      <a:pt x="29531" y="17053"/>
                    </a:lnTo>
                    <a:lnTo>
                      <a:pt x="51650" y="34108"/>
                    </a:lnTo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</p:grpSp>
      </p:grpSp>
      <p:sp>
        <p:nvSpPr>
          <p:cNvPr id="393" name="object 2">
            <a:extLst>
              <a:ext uri="{FF2B5EF4-FFF2-40B4-BE49-F238E27FC236}">
                <a16:creationId xmlns:a16="http://schemas.microsoft.com/office/drawing/2014/main" id="{117C0941-1D53-05B6-F33C-5E48C21BD820}"/>
              </a:ext>
            </a:extLst>
          </p:cNvPr>
          <p:cNvSpPr txBox="1"/>
          <p:nvPr/>
        </p:nvSpPr>
        <p:spPr>
          <a:xfrm>
            <a:off x="8013954" y="5141364"/>
            <a:ext cx="2743200" cy="430887"/>
          </a:xfrm>
          <a:prstGeom prst="rect">
            <a:avLst/>
          </a:prstGeom>
          <a:noFill/>
        </p:spPr>
        <p:txBody>
          <a:bodyPr wrap="square" lIns="0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1200" spc="100">
                <a:ln w="3175">
                  <a:noFill/>
                </a:ln>
                <a:gradFill flip="none" rotWithShape="1">
                  <a:gsLst>
                    <a:gs pos="0">
                      <a:srgbClr val="8661C5"/>
                    </a:gs>
                    <a:gs pos="80000">
                      <a:srgbClr val="0078D4"/>
                    </a:gs>
                  </a:gsLst>
                  <a:lin ang="2700000" scaled="1"/>
                  <a:tileRect/>
                </a:gradFill>
                <a:latin typeface="Aptos" panose="020B0004020202020204" pitchFamily="34" charset="0"/>
                <a:ea typeface="Roboto" panose="02000000000000000000" pitchFamily="2" charset="0"/>
                <a:cs typeface="Segoe UI Semibold"/>
              </a:defRPr>
            </a:lvl1pPr>
          </a:lstStyle>
          <a:p>
            <a:r>
              <a:rPr lang="en-US" sz="1100" dirty="0"/>
              <a:t>Deployment of Battle-tested &amp; Contextualized Prompt Catalog </a:t>
            </a:r>
            <a:endParaRPr sz="1100" dirty="0"/>
          </a:p>
        </p:txBody>
      </p:sp>
      <p:sp>
        <p:nvSpPr>
          <p:cNvPr id="394" name="object 2">
            <a:extLst>
              <a:ext uri="{FF2B5EF4-FFF2-40B4-BE49-F238E27FC236}">
                <a16:creationId xmlns:a16="http://schemas.microsoft.com/office/drawing/2014/main" id="{FA38D781-6C20-9000-90F1-728C1F9CD04C}"/>
              </a:ext>
            </a:extLst>
          </p:cNvPr>
          <p:cNvSpPr txBox="1"/>
          <p:nvPr/>
        </p:nvSpPr>
        <p:spPr>
          <a:xfrm>
            <a:off x="3637358" y="5141364"/>
            <a:ext cx="2743200" cy="430887"/>
          </a:xfrm>
          <a:prstGeom prst="rect">
            <a:avLst/>
          </a:prstGeom>
          <a:noFill/>
        </p:spPr>
        <p:txBody>
          <a:bodyPr wrap="square" lIns="0">
            <a:spAutoFit/>
          </a:bodyPr>
          <a:lstStyle>
            <a:defPPr>
              <a:defRPr lang="en-US"/>
            </a:defPPr>
            <a:lvl1pPr>
              <a:defRPr sz="2800" spc="100">
                <a:ln w="3175">
                  <a:noFill/>
                </a:ln>
                <a:gradFill flip="none" rotWithShape="1">
                  <a:gsLst>
                    <a:gs pos="59000">
                      <a:srgbClr val="8661C5"/>
                    </a:gs>
                    <a:gs pos="0">
                      <a:srgbClr val="0078D4"/>
                    </a:gs>
                  </a:gsLst>
                  <a:lin ang="0" scaled="1"/>
                  <a:tileRect/>
                </a:gradFill>
                <a:latin typeface="Aptos" panose="020B0004020202020204" pitchFamily="34" charset="0"/>
                <a:ea typeface="+mj-lt"/>
                <a:cs typeface="Segoe UI Semibold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1100" dirty="0">
                <a:gradFill flip="none" rotWithShape="1">
                  <a:gsLst>
                    <a:gs pos="0">
                      <a:srgbClr val="8661C5"/>
                    </a:gs>
                    <a:gs pos="80000">
                      <a:srgbClr val="0078D4"/>
                    </a:gs>
                  </a:gsLst>
                  <a:lin ang="2700000" scaled="1"/>
                  <a:tileRect/>
                </a:gradFill>
                <a:ea typeface="Roboto" panose="02000000000000000000" pitchFamily="2" charset="0"/>
              </a:rPr>
              <a:t>Agentic AI-based Autonomous Automation with Reflection</a:t>
            </a:r>
          </a:p>
        </p:txBody>
      </p:sp>
      <p:sp>
        <p:nvSpPr>
          <p:cNvPr id="395" name="object 2">
            <a:extLst>
              <a:ext uri="{FF2B5EF4-FFF2-40B4-BE49-F238E27FC236}">
                <a16:creationId xmlns:a16="http://schemas.microsoft.com/office/drawing/2014/main" id="{E0B3E917-AB4E-7A3F-9908-BA8EF09FE94B}"/>
              </a:ext>
            </a:extLst>
          </p:cNvPr>
          <p:cNvSpPr txBox="1"/>
          <p:nvPr/>
        </p:nvSpPr>
        <p:spPr>
          <a:xfrm>
            <a:off x="3637358" y="5684868"/>
            <a:ext cx="2743200" cy="430887"/>
          </a:xfrm>
          <a:prstGeom prst="rect">
            <a:avLst/>
          </a:prstGeom>
          <a:noFill/>
        </p:spPr>
        <p:txBody>
          <a:bodyPr wrap="square" lIns="0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1200" spc="100">
                <a:ln w="3175">
                  <a:noFill/>
                </a:ln>
                <a:gradFill flip="none" rotWithShape="1">
                  <a:gsLst>
                    <a:gs pos="0">
                      <a:srgbClr val="8661C5"/>
                    </a:gs>
                    <a:gs pos="80000">
                      <a:srgbClr val="0078D4"/>
                    </a:gs>
                  </a:gsLst>
                  <a:lin ang="2700000" scaled="1"/>
                  <a:tileRect/>
                </a:gradFill>
                <a:latin typeface="Aptos" panose="020B0004020202020204" pitchFamily="34" charset="0"/>
                <a:ea typeface="Roboto" panose="02000000000000000000" pitchFamily="2" charset="0"/>
                <a:cs typeface="Segoe UI Semibold"/>
              </a:defRPr>
            </a:lvl1pPr>
          </a:lstStyle>
          <a:p>
            <a:r>
              <a:rPr lang="en-US" sz="1100" dirty="0"/>
              <a:t>COE Model with Metrics-driven SDLC Processes &amp; Overall Quality </a:t>
            </a:r>
            <a:endParaRPr sz="1100" dirty="0"/>
          </a:p>
        </p:txBody>
      </p:sp>
      <p:grpSp>
        <p:nvGrpSpPr>
          <p:cNvPr id="425" name="Graphic 1023">
            <a:extLst>
              <a:ext uri="{FF2B5EF4-FFF2-40B4-BE49-F238E27FC236}">
                <a16:creationId xmlns:a16="http://schemas.microsoft.com/office/drawing/2014/main" id="{12527594-C682-8644-9D9E-A17906901FA8}"/>
              </a:ext>
            </a:extLst>
          </p:cNvPr>
          <p:cNvGrpSpPr>
            <a:grpSpLocks noChangeAspect="1"/>
          </p:cNvGrpSpPr>
          <p:nvPr/>
        </p:nvGrpSpPr>
        <p:grpSpPr>
          <a:xfrm>
            <a:off x="2875609" y="5778540"/>
            <a:ext cx="274320" cy="274320"/>
            <a:chOff x="2718772" y="4504767"/>
            <a:chExt cx="544260" cy="544260"/>
          </a:xfrm>
          <a:noFill/>
        </p:grpSpPr>
        <p:sp>
          <p:nvSpPr>
            <p:cNvPr id="426" name="Freeform: Shape 425">
              <a:extLst>
                <a:ext uri="{FF2B5EF4-FFF2-40B4-BE49-F238E27FC236}">
                  <a16:creationId xmlns:a16="http://schemas.microsoft.com/office/drawing/2014/main" id="{667790D1-DB62-38DE-0BE1-500261567EF8}"/>
                </a:ext>
              </a:extLst>
            </p:cNvPr>
            <p:cNvSpPr/>
            <p:nvPr/>
          </p:nvSpPr>
          <p:spPr>
            <a:xfrm>
              <a:off x="2732542" y="4695262"/>
              <a:ext cx="517051" cy="1318"/>
            </a:xfrm>
            <a:custGeom>
              <a:avLst/>
              <a:gdLst>
                <a:gd name="connsiteX0" fmla="*/ 0 w 517051"/>
                <a:gd name="connsiteY0" fmla="*/ 0 h 1318"/>
                <a:gd name="connsiteX1" fmla="*/ 517051 w 517051"/>
                <a:gd name="connsiteY1" fmla="*/ 0 h 1318"/>
                <a:gd name="connsiteX2" fmla="*/ 0 w 517051"/>
                <a:gd name="connsiteY2" fmla="*/ 0 h 1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7051" h="1318">
                  <a:moveTo>
                    <a:pt x="0" y="0"/>
                  </a:moveTo>
                  <a:lnTo>
                    <a:pt x="51705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27" name="Freeform: Shape 426">
              <a:extLst>
                <a:ext uri="{FF2B5EF4-FFF2-40B4-BE49-F238E27FC236}">
                  <a16:creationId xmlns:a16="http://schemas.microsoft.com/office/drawing/2014/main" id="{38A47224-D248-C637-A930-E177DF47E501}"/>
                </a:ext>
              </a:extLst>
            </p:cNvPr>
            <p:cNvSpPr/>
            <p:nvPr/>
          </p:nvSpPr>
          <p:spPr>
            <a:xfrm>
              <a:off x="3072539" y="4954856"/>
              <a:ext cx="1318" cy="27209"/>
            </a:xfrm>
            <a:custGeom>
              <a:avLst/>
              <a:gdLst>
                <a:gd name="connsiteX0" fmla="*/ 0 w 1318"/>
                <a:gd name="connsiteY0" fmla="*/ 27210 h 27209"/>
                <a:gd name="connsiteX1" fmla="*/ 0 w 1318"/>
                <a:gd name="connsiteY1" fmla="*/ 0 h 27209"/>
                <a:gd name="connsiteX2" fmla="*/ 0 w 1318"/>
                <a:gd name="connsiteY2" fmla="*/ 27210 h 2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8" h="27209">
                  <a:moveTo>
                    <a:pt x="0" y="27210"/>
                  </a:moveTo>
                  <a:lnTo>
                    <a:pt x="0" y="0"/>
                  </a:lnTo>
                  <a:lnTo>
                    <a:pt x="0" y="27210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28" name="Freeform: Shape 427">
              <a:extLst>
                <a:ext uri="{FF2B5EF4-FFF2-40B4-BE49-F238E27FC236}">
                  <a16:creationId xmlns:a16="http://schemas.microsoft.com/office/drawing/2014/main" id="{5D71AE54-5608-F9E9-9A74-79CE8AD4513E}"/>
                </a:ext>
              </a:extLst>
            </p:cNvPr>
            <p:cNvSpPr/>
            <p:nvPr/>
          </p:nvSpPr>
          <p:spPr>
            <a:xfrm>
              <a:off x="3126971" y="4900423"/>
              <a:ext cx="1318" cy="27209"/>
            </a:xfrm>
            <a:custGeom>
              <a:avLst/>
              <a:gdLst>
                <a:gd name="connsiteX0" fmla="*/ 0 w 1318"/>
                <a:gd name="connsiteY0" fmla="*/ 27210 h 27209"/>
                <a:gd name="connsiteX1" fmla="*/ 0 w 1318"/>
                <a:gd name="connsiteY1" fmla="*/ 0 h 27209"/>
                <a:gd name="connsiteX2" fmla="*/ 0 w 1318"/>
                <a:gd name="connsiteY2" fmla="*/ 27210 h 2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8" h="27209">
                  <a:moveTo>
                    <a:pt x="0" y="27210"/>
                  </a:moveTo>
                  <a:lnTo>
                    <a:pt x="0" y="0"/>
                  </a:lnTo>
                  <a:lnTo>
                    <a:pt x="0" y="27210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29" name="Freeform: Shape 428">
              <a:extLst>
                <a:ext uri="{FF2B5EF4-FFF2-40B4-BE49-F238E27FC236}">
                  <a16:creationId xmlns:a16="http://schemas.microsoft.com/office/drawing/2014/main" id="{FA347FD3-EC3C-F16D-4A34-1627922CE063}"/>
                </a:ext>
              </a:extLst>
            </p:cNvPr>
            <p:cNvSpPr/>
            <p:nvPr/>
          </p:nvSpPr>
          <p:spPr>
            <a:xfrm>
              <a:off x="3181391" y="4954895"/>
              <a:ext cx="1318" cy="27209"/>
            </a:xfrm>
            <a:custGeom>
              <a:avLst/>
              <a:gdLst>
                <a:gd name="connsiteX0" fmla="*/ 0 w 1318"/>
                <a:gd name="connsiteY0" fmla="*/ 0 h 27209"/>
                <a:gd name="connsiteX1" fmla="*/ 0 w 1318"/>
                <a:gd name="connsiteY1" fmla="*/ 27210 h 27209"/>
                <a:gd name="connsiteX2" fmla="*/ 0 w 1318"/>
                <a:gd name="connsiteY2" fmla="*/ 0 h 2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8" h="27209">
                  <a:moveTo>
                    <a:pt x="0" y="0"/>
                  </a:moveTo>
                  <a:lnTo>
                    <a:pt x="0" y="2721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30" name="Freeform: Shape 429">
              <a:extLst>
                <a:ext uri="{FF2B5EF4-FFF2-40B4-BE49-F238E27FC236}">
                  <a16:creationId xmlns:a16="http://schemas.microsoft.com/office/drawing/2014/main" id="{DA9748B5-3780-F1CC-15D5-EDCA020C42EF}"/>
                </a:ext>
              </a:extLst>
            </p:cNvPr>
            <p:cNvSpPr/>
            <p:nvPr/>
          </p:nvSpPr>
          <p:spPr>
            <a:xfrm>
              <a:off x="2800402" y="4954856"/>
              <a:ext cx="1318" cy="27209"/>
            </a:xfrm>
            <a:custGeom>
              <a:avLst/>
              <a:gdLst>
                <a:gd name="connsiteX0" fmla="*/ 0 w 1318"/>
                <a:gd name="connsiteY0" fmla="*/ 27210 h 27209"/>
                <a:gd name="connsiteX1" fmla="*/ 0 w 1318"/>
                <a:gd name="connsiteY1" fmla="*/ 0 h 27209"/>
                <a:gd name="connsiteX2" fmla="*/ 0 w 1318"/>
                <a:gd name="connsiteY2" fmla="*/ 27210 h 2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8" h="27209">
                  <a:moveTo>
                    <a:pt x="0" y="27210"/>
                  </a:moveTo>
                  <a:lnTo>
                    <a:pt x="0" y="0"/>
                  </a:lnTo>
                  <a:lnTo>
                    <a:pt x="0" y="27210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31" name="Freeform: Shape 430">
              <a:extLst>
                <a:ext uri="{FF2B5EF4-FFF2-40B4-BE49-F238E27FC236}">
                  <a16:creationId xmlns:a16="http://schemas.microsoft.com/office/drawing/2014/main" id="{1C79B49D-6F0B-B82B-82CF-D2D06FE6BB16}"/>
                </a:ext>
              </a:extLst>
            </p:cNvPr>
            <p:cNvSpPr/>
            <p:nvPr/>
          </p:nvSpPr>
          <p:spPr>
            <a:xfrm>
              <a:off x="2800402" y="4844935"/>
              <a:ext cx="1318" cy="27209"/>
            </a:xfrm>
            <a:custGeom>
              <a:avLst/>
              <a:gdLst>
                <a:gd name="connsiteX0" fmla="*/ 0 w 1318"/>
                <a:gd name="connsiteY0" fmla="*/ 27210 h 27209"/>
                <a:gd name="connsiteX1" fmla="*/ 0 w 1318"/>
                <a:gd name="connsiteY1" fmla="*/ 0 h 27209"/>
                <a:gd name="connsiteX2" fmla="*/ 0 w 1318"/>
                <a:gd name="connsiteY2" fmla="*/ 27210 h 2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8" h="27209">
                  <a:moveTo>
                    <a:pt x="0" y="27210"/>
                  </a:moveTo>
                  <a:lnTo>
                    <a:pt x="0" y="0"/>
                  </a:lnTo>
                  <a:lnTo>
                    <a:pt x="0" y="27210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32" name="Freeform: Shape 431">
              <a:extLst>
                <a:ext uri="{FF2B5EF4-FFF2-40B4-BE49-F238E27FC236}">
                  <a16:creationId xmlns:a16="http://schemas.microsoft.com/office/drawing/2014/main" id="{39F83C33-F4CE-389E-4976-913DE70F7314}"/>
                </a:ext>
              </a:extLst>
            </p:cNvPr>
            <p:cNvSpPr/>
            <p:nvPr/>
          </p:nvSpPr>
          <p:spPr>
            <a:xfrm>
              <a:off x="2800402" y="4763293"/>
              <a:ext cx="1318" cy="27209"/>
            </a:xfrm>
            <a:custGeom>
              <a:avLst/>
              <a:gdLst>
                <a:gd name="connsiteX0" fmla="*/ 0 w 1318"/>
                <a:gd name="connsiteY0" fmla="*/ 27210 h 27209"/>
                <a:gd name="connsiteX1" fmla="*/ 0 w 1318"/>
                <a:gd name="connsiteY1" fmla="*/ 0 h 27209"/>
                <a:gd name="connsiteX2" fmla="*/ 0 w 1318"/>
                <a:gd name="connsiteY2" fmla="*/ 27210 h 2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8" h="27209">
                  <a:moveTo>
                    <a:pt x="0" y="27210"/>
                  </a:moveTo>
                  <a:lnTo>
                    <a:pt x="0" y="0"/>
                  </a:lnTo>
                  <a:lnTo>
                    <a:pt x="0" y="27210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33" name="Freeform: Shape 432">
              <a:extLst>
                <a:ext uri="{FF2B5EF4-FFF2-40B4-BE49-F238E27FC236}">
                  <a16:creationId xmlns:a16="http://schemas.microsoft.com/office/drawing/2014/main" id="{0E712343-C844-EF2A-D0AA-0FD12AE06AA9}"/>
                </a:ext>
              </a:extLst>
            </p:cNvPr>
            <p:cNvSpPr/>
            <p:nvPr/>
          </p:nvSpPr>
          <p:spPr>
            <a:xfrm>
              <a:off x="3181391" y="4844935"/>
              <a:ext cx="1318" cy="27209"/>
            </a:xfrm>
            <a:custGeom>
              <a:avLst/>
              <a:gdLst>
                <a:gd name="connsiteX0" fmla="*/ 0 w 1318"/>
                <a:gd name="connsiteY0" fmla="*/ 27210 h 27209"/>
                <a:gd name="connsiteX1" fmla="*/ 0 w 1318"/>
                <a:gd name="connsiteY1" fmla="*/ 0 h 27209"/>
                <a:gd name="connsiteX2" fmla="*/ 0 w 1318"/>
                <a:gd name="connsiteY2" fmla="*/ 27210 h 2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8" h="27209">
                  <a:moveTo>
                    <a:pt x="0" y="27210"/>
                  </a:moveTo>
                  <a:lnTo>
                    <a:pt x="0" y="0"/>
                  </a:lnTo>
                  <a:lnTo>
                    <a:pt x="0" y="27210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34" name="Freeform: Shape 433">
              <a:extLst>
                <a:ext uri="{FF2B5EF4-FFF2-40B4-BE49-F238E27FC236}">
                  <a16:creationId xmlns:a16="http://schemas.microsoft.com/office/drawing/2014/main" id="{0A3A627F-44C8-5118-B4DA-0CBEB7B7257E}"/>
                </a:ext>
              </a:extLst>
            </p:cNvPr>
            <p:cNvSpPr/>
            <p:nvPr/>
          </p:nvSpPr>
          <p:spPr>
            <a:xfrm>
              <a:off x="3181391" y="4763293"/>
              <a:ext cx="1318" cy="27209"/>
            </a:xfrm>
            <a:custGeom>
              <a:avLst/>
              <a:gdLst>
                <a:gd name="connsiteX0" fmla="*/ 0 w 1318"/>
                <a:gd name="connsiteY0" fmla="*/ 27210 h 27209"/>
                <a:gd name="connsiteX1" fmla="*/ 0 w 1318"/>
                <a:gd name="connsiteY1" fmla="*/ 0 h 27209"/>
                <a:gd name="connsiteX2" fmla="*/ 0 w 1318"/>
                <a:gd name="connsiteY2" fmla="*/ 27210 h 2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8" h="27209">
                  <a:moveTo>
                    <a:pt x="0" y="27210"/>
                  </a:moveTo>
                  <a:lnTo>
                    <a:pt x="0" y="0"/>
                  </a:lnTo>
                  <a:lnTo>
                    <a:pt x="0" y="27210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35" name="Freeform: Shape 434">
              <a:extLst>
                <a:ext uri="{FF2B5EF4-FFF2-40B4-BE49-F238E27FC236}">
                  <a16:creationId xmlns:a16="http://schemas.microsoft.com/office/drawing/2014/main" id="{14015299-C1B1-9CE7-226D-2CE78E97A43D}"/>
                </a:ext>
              </a:extLst>
            </p:cNvPr>
            <p:cNvSpPr/>
            <p:nvPr/>
          </p:nvSpPr>
          <p:spPr>
            <a:xfrm>
              <a:off x="2854834" y="4900423"/>
              <a:ext cx="1318" cy="27209"/>
            </a:xfrm>
            <a:custGeom>
              <a:avLst/>
              <a:gdLst>
                <a:gd name="connsiteX0" fmla="*/ 0 w 1318"/>
                <a:gd name="connsiteY0" fmla="*/ 27210 h 27209"/>
                <a:gd name="connsiteX1" fmla="*/ 0 w 1318"/>
                <a:gd name="connsiteY1" fmla="*/ 0 h 27209"/>
                <a:gd name="connsiteX2" fmla="*/ 0 w 1318"/>
                <a:gd name="connsiteY2" fmla="*/ 27210 h 2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8" h="27209">
                  <a:moveTo>
                    <a:pt x="0" y="27210"/>
                  </a:moveTo>
                  <a:lnTo>
                    <a:pt x="0" y="0"/>
                  </a:lnTo>
                  <a:lnTo>
                    <a:pt x="0" y="27210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36" name="Freeform: Shape 435">
              <a:extLst>
                <a:ext uri="{FF2B5EF4-FFF2-40B4-BE49-F238E27FC236}">
                  <a16:creationId xmlns:a16="http://schemas.microsoft.com/office/drawing/2014/main" id="{D55EEFBA-92D6-4644-79F3-BDD30E39B782}"/>
                </a:ext>
              </a:extLst>
            </p:cNvPr>
            <p:cNvSpPr/>
            <p:nvPr/>
          </p:nvSpPr>
          <p:spPr>
            <a:xfrm>
              <a:off x="2909254" y="4954895"/>
              <a:ext cx="1318" cy="27209"/>
            </a:xfrm>
            <a:custGeom>
              <a:avLst/>
              <a:gdLst>
                <a:gd name="connsiteX0" fmla="*/ 0 w 1318"/>
                <a:gd name="connsiteY0" fmla="*/ 0 h 27209"/>
                <a:gd name="connsiteX1" fmla="*/ 0 w 1318"/>
                <a:gd name="connsiteY1" fmla="*/ 27210 h 27209"/>
                <a:gd name="connsiteX2" fmla="*/ 0 w 1318"/>
                <a:gd name="connsiteY2" fmla="*/ 0 h 2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8" h="27209">
                  <a:moveTo>
                    <a:pt x="0" y="0"/>
                  </a:moveTo>
                  <a:lnTo>
                    <a:pt x="0" y="2721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37" name="Freeform: Shape 436">
              <a:extLst>
                <a:ext uri="{FF2B5EF4-FFF2-40B4-BE49-F238E27FC236}">
                  <a16:creationId xmlns:a16="http://schemas.microsoft.com/office/drawing/2014/main" id="{0525ED67-69B2-4CDA-D47E-C8D3AFDA4461}"/>
                </a:ext>
              </a:extLst>
            </p:cNvPr>
            <p:cNvSpPr/>
            <p:nvPr/>
          </p:nvSpPr>
          <p:spPr>
            <a:xfrm>
              <a:off x="2909254" y="4572798"/>
              <a:ext cx="1318" cy="27209"/>
            </a:xfrm>
            <a:custGeom>
              <a:avLst/>
              <a:gdLst>
                <a:gd name="connsiteX0" fmla="*/ 0 w 1318"/>
                <a:gd name="connsiteY0" fmla="*/ 0 h 27209"/>
                <a:gd name="connsiteX1" fmla="*/ 0 w 1318"/>
                <a:gd name="connsiteY1" fmla="*/ 27210 h 27209"/>
                <a:gd name="connsiteX2" fmla="*/ 0 w 1318"/>
                <a:gd name="connsiteY2" fmla="*/ 0 h 2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8" h="27209">
                  <a:moveTo>
                    <a:pt x="0" y="0"/>
                  </a:moveTo>
                  <a:lnTo>
                    <a:pt x="0" y="2721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38" name="Freeform: Shape 437">
              <a:extLst>
                <a:ext uri="{FF2B5EF4-FFF2-40B4-BE49-F238E27FC236}">
                  <a16:creationId xmlns:a16="http://schemas.microsoft.com/office/drawing/2014/main" id="{F2A3FDAD-D379-D250-D542-3FE043B810EC}"/>
                </a:ext>
              </a:extLst>
            </p:cNvPr>
            <p:cNvSpPr/>
            <p:nvPr/>
          </p:nvSpPr>
          <p:spPr>
            <a:xfrm>
              <a:off x="2854834" y="4627218"/>
              <a:ext cx="1318" cy="27209"/>
            </a:xfrm>
            <a:custGeom>
              <a:avLst/>
              <a:gdLst>
                <a:gd name="connsiteX0" fmla="*/ 0 w 1318"/>
                <a:gd name="connsiteY0" fmla="*/ 0 h 27209"/>
                <a:gd name="connsiteX1" fmla="*/ 0 w 1318"/>
                <a:gd name="connsiteY1" fmla="*/ 27210 h 27209"/>
                <a:gd name="connsiteX2" fmla="*/ 0 w 1318"/>
                <a:gd name="connsiteY2" fmla="*/ 0 h 2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8" h="27209">
                  <a:moveTo>
                    <a:pt x="0" y="0"/>
                  </a:moveTo>
                  <a:lnTo>
                    <a:pt x="0" y="2721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39" name="Freeform: Shape 438">
              <a:extLst>
                <a:ext uri="{FF2B5EF4-FFF2-40B4-BE49-F238E27FC236}">
                  <a16:creationId xmlns:a16="http://schemas.microsoft.com/office/drawing/2014/main" id="{D558C66A-291E-A5DF-C2D0-C203CD8CD709}"/>
                </a:ext>
              </a:extLst>
            </p:cNvPr>
            <p:cNvSpPr/>
            <p:nvPr/>
          </p:nvSpPr>
          <p:spPr>
            <a:xfrm>
              <a:off x="2800402" y="4572758"/>
              <a:ext cx="1318" cy="27209"/>
            </a:xfrm>
            <a:custGeom>
              <a:avLst/>
              <a:gdLst>
                <a:gd name="connsiteX0" fmla="*/ 0 w 1318"/>
                <a:gd name="connsiteY0" fmla="*/ 27210 h 27209"/>
                <a:gd name="connsiteX1" fmla="*/ 0 w 1318"/>
                <a:gd name="connsiteY1" fmla="*/ 0 h 27209"/>
                <a:gd name="connsiteX2" fmla="*/ 0 w 1318"/>
                <a:gd name="connsiteY2" fmla="*/ 27210 h 2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8" h="27209">
                  <a:moveTo>
                    <a:pt x="0" y="27210"/>
                  </a:moveTo>
                  <a:lnTo>
                    <a:pt x="0" y="0"/>
                  </a:lnTo>
                  <a:lnTo>
                    <a:pt x="0" y="27210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40" name="Freeform: Shape 439">
              <a:extLst>
                <a:ext uri="{FF2B5EF4-FFF2-40B4-BE49-F238E27FC236}">
                  <a16:creationId xmlns:a16="http://schemas.microsoft.com/office/drawing/2014/main" id="{CE91CA82-9D7D-8532-232C-75D55BEEA27F}"/>
                </a:ext>
              </a:extLst>
            </p:cNvPr>
            <p:cNvSpPr/>
            <p:nvPr/>
          </p:nvSpPr>
          <p:spPr>
            <a:xfrm>
              <a:off x="3181391" y="4572798"/>
              <a:ext cx="1318" cy="27209"/>
            </a:xfrm>
            <a:custGeom>
              <a:avLst/>
              <a:gdLst>
                <a:gd name="connsiteX0" fmla="*/ 0 w 1318"/>
                <a:gd name="connsiteY0" fmla="*/ 0 h 27209"/>
                <a:gd name="connsiteX1" fmla="*/ 0 w 1318"/>
                <a:gd name="connsiteY1" fmla="*/ 27210 h 27209"/>
                <a:gd name="connsiteX2" fmla="*/ 0 w 1318"/>
                <a:gd name="connsiteY2" fmla="*/ 0 h 2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8" h="27209">
                  <a:moveTo>
                    <a:pt x="0" y="0"/>
                  </a:moveTo>
                  <a:lnTo>
                    <a:pt x="0" y="2721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41" name="Freeform: Shape 440">
              <a:extLst>
                <a:ext uri="{FF2B5EF4-FFF2-40B4-BE49-F238E27FC236}">
                  <a16:creationId xmlns:a16="http://schemas.microsoft.com/office/drawing/2014/main" id="{4E6EB39F-DB01-15AA-C156-D00811FCB226}"/>
                </a:ext>
              </a:extLst>
            </p:cNvPr>
            <p:cNvSpPr/>
            <p:nvPr/>
          </p:nvSpPr>
          <p:spPr>
            <a:xfrm>
              <a:off x="3126971" y="4627218"/>
              <a:ext cx="1318" cy="27209"/>
            </a:xfrm>
            <a:custGeom>
              <a:avLst/>
              <a:gdLst>
                <a:gd name="connsiteX0" fmla="*/ 0 w 1318"/>
                <a:gd name="connsiteY0" fmla="*/ 0 h 27209"/>
                <a:gd name="connsiteX1" fmla="*/ 0 w 1318"/>
                <a:gd name="connsiteY1" fmla="*/ 27210 h 27209"/>
                <a:gd name="connsiteX2" fmla="*/ 0 w 1318"/>
                <a:gd name="connsiteY2" fmla="*/ 0 h 2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8" h="27209">
                  <a:moveTo>
                    <a:pt x="0" y="0"/>
                  </a:moveTo>
                  <a:lnTo>
                    <a:pt x="0" y="2721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42" name="Freeform: Shape 441">
              <a:extLst>
                <a:ext uri="{FF2B5EF4-FFF2-40B4-BE49-F238E27FC236}">
                  <a16:creationId xmlns:a16="http://schemas.microsoft.com/office/drawing/2014/main" id="{7665BC7C-1246-ED51-6509-4F20B942454F}"/>
                </a:ext>
              </a:extLst>
            </p:cNvPr>
            <p:cNvSpPr/>
            <p:nvPr/>
          </p:nvSpPr>
          <p:spPr>
            <a:xfrm>
              <a:off x="3072539" y="4572758"/>
              <a:ext cx="1318" cy="27209"/>
            </a:xfrm>
            <a:custGeom>
              <a:avLst/>
              <a:gdLst>
                <a:gd name="connsiteX0" fmla="*/ 0 w 1318"/>
                <a:gd name="connsiteY0" fmla="*/ 27210 h 27209"/>
                <a:gd name="connsiteX1" fmla="*/ 0 w 1318"/>
                <a:gd name="connsiteY1" fmla="*/ 0 h 27209"/>
                <a:gd name="connsiteX2" fmla="*/ 0 w 1318"/>
                <a:gd name="connsiteY2" fmla="*/ 27210 h 2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8" h="27209">
                  <a:moveTo>
                    <a:pt x="0" y="27210"/>
                  </a:moveTo>
                  <a:lnTo>
                    <a:pt x="0" y="0"/>
                  </a:lnTo>
                  <a:lnTo>
                    <a:pt x="0" y="27210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43" name="Freeform: Shape 442">
              <a:extLst>
                <a:ext uri="{FF2B5EF4-FFF2-40B4-BE49-F238E27FC236}">
                  <a16:creationId xmlns:a16="http://schemas.microsoft.com/office/drawing/2014/main" id="{A9DC9B0B-364C-436F-DDAE-D60178F7A8A5}"/>
                </a:ext>
              </a:extLst>
            </p:cNvPr>
            <p:cNvSpPr/>
            <p:nvPr/>
          </p:nvSpPr>
          <p:spPr>
            <a:xfrm>
              <a:off x="2718772" y="4504767"/>
              <a:ext cx="108852" cy="108852"/>
            </a:xfrm>
            <a:custGeom>
              <a:avLst/>
              <a:gdLst>
                <a:gd name="connsiteX0" fmla="*/ 0 w 108852"/>
                <a:gd name="connsiteY0" fmla="*/ 0 h 108852"/>
                <a:gd name="connsiteX1" fmla="*/ 108852 w 108852"/>
                <a:gd name="connsiteY1" fmla="*/ 0 h 108852"/>
                <a:gd name="connsiteX2" fmla="*/ 108852 w 108852"/>
                <a:gd name="connsiteY2" fmla="*/ 108852 h 108852"/>
                <a:gd name="connsiteX3" fmla="*/ 0 w 108852"/>
                <a:gd name="connsiteY3" fmla="*/ 108852 h 108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852" h="108852">
                  <a:moveTo>
                    <a:pt x="0" y="0"/>
                  </a:moveTo>
                  <a:lnTo>
                    <a:pt x="108852" y="0"/>
                  </a:lnTo>
                  <a:lnTo>
                    <a:pt x="108852" y="108852"/>
                  </a:lnTo>
                  <a:lnTo>
                    <a:pt x="0" y="108852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44" name="Freeform: Shape 443">
              <a:extLst>
                <a:ext uri="{FF2B5EF4-FFF2-40B4-BE49-F238E27FC236}">
                  <a16:creationId xmlns:a16="http://schemas.microsoft.com/office/drawing/2014/main" id="{B1180BC7-447D-92EB-C8D8-19DB7532E202}"/>
                </a:ext>
              </a:extLst>
            </p:cNvPr>
            <p:cNvSpPr/>
            <p:nvPr/>
          </p:nvSpPr>
          <p:spPr>
            <a:xfrm>
              <a:off x="2718772" y="4940176"/>
              <a:ext cx="108852" cy="108852"/>
            </a:xfrm>
            <a:custGeom>
              <a:avLst/>
              <a:gdLst>
                <a:gd name="connsiteX0" fmla="*/ 0 w 108852"/>
                <a:gd name="connsiteY0" fmla="*/ 0 h 108852"/>
                <a:gd name="connsiteX1" fmla="*/ 108852 w 108852"/>
                <a:gd name="connsiteY1" fmla="*/ 0 h 108852"/>
                <a:gd name="connsiteX2" fmla="*/ 108852 w 108852"/>
                <a:gd name="connsiteY2" fmla="*/ 108852 h 108852"/>
                <a:gd name="connsiteX3" fmla="*/ 0 w 108852"/>
                <a:gd name="connsiteY3" fmla="*/ 108852 h 108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852" h="108852">
                  <a:moveTo>
                    <a:pt x="0" y="0"/>
                  </a:moveTo>
                  <a:lnTo>
                    <a:pt x="108852" y="0"/>
                  </a:lnTo>
                  <a:lnTo>
                    <a:pt x="108852" y="108852"/>
                  </a:lnTo>
                  <a:lnTo>
                    <a:pt x="0" y="108852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45" name="Freeform: Shape 444">
              <a:extLst>
                <a:ext uri="{FF2B5EF4-FFF2-40B4-BE49-F238E27FC236}">
                  <a16:creationId xmlns:a16="http://schemas.microsoft.com/office/drawing/2014/main" id="{A994B5BB-9FC4-03F3-0289-FB53BD196671}"/>
                </a:ext>
              </a:extLst>
            </p:cNvPr>
            <p:cNvSpPr/>
            <p:nvPr/>
          </p:nvSpPr>
          <p:spPr>
            <a:xfrm>
              <a:off x="3154181" y="4940176"/>
              <a:ext cx="108852" cy="108852"/>
            </a:xfrm>
            <a:custGeom>
              <a:avLst/>
              <a:gdLst>
                <a:gd name="connsiteX0" fmla="*/ 0 w 108852"/>
                <a:gd name="connsiteY0" fmla="*/ 0 h 108852"/>
                <a:gd name="connsiteX1" fmla="*/ 108852 w 108852"/>
                <a:gd name="connsiteY1" fmla="*/ 0 h 108852"/>
                <a:gd name="connsiteX2" fmla="*/ 108852 w 108852"/>
                <a:gd name="connsiteY2" fmla="*/ 108852 h 108852"/>
                <a:gd name="connsiteX3" fmla="*/ 0 w 108852"/>
                <a:gd name="connsiteY3" fmla="*/ 108852 h 108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852" h="108852">
                  <a:moveTo>
                    <a:pt x="0" y="0"/>
                  </a:moveTo>
                  <a:lnTo>
                    <a:pt x="108852" y="0"/>
                  </a:lnTo>
                  <a:lnTo>
                    <a:pt x="108852" y="108852"/>
                  </a:lnTo>
                  <a:lnTo>
                    <a:pt x="0" y="108852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46" name="Freeform: Shape 445">
              <a:extLst>
                <a:ext uri="{FF2B5EF4-FFF2-40B4-BE49-F238E27FC236}">
                  <a16:creationId xmlns:a16="http://schemas.microsoft.com/office/drawing/2014/main" id="{FC846EE9-C5F0-7B63-6517-0F4F859DC071}"/>
                </a:ext>
              </a:extLst>
            </p:cNvPr>
            <p:cNvSpPr/>
            <p:nvPr/>
          </p:nvSpPr>
          <p:spPr>
            <a:xfrm>
              <a:off x="3154181" y="4504767"/>
              <a:ext cx="108852" cy="108852"/>
            </a:xfrm>
            <a:custGeom>
              <a:avLst/>
              <a:gdLst>
                <a:gd name="connsiteX0" fmla="*/ 0 w 108852"/>
                <a:gd name="connsiteY0" fmla="*/ 0 h 108852"/>
                <a:gd name="connsiteX1" fmla="*/ 108852 w 108852"/>
                <a:gd name="connsiteY1" fmla="*/ 0 h 108852"/>
                <a:gd name="connsiteX2" fmla="*/ 108852 w 108852"/>
                <a:gd name="connsiteY2" fmla="*/ 108852 h 108852"/>
                <a:gd name="connsiteX3" fmla="*/ 0 w 108852"/>
                <a:gd name="connsiteY3" fmla="*/ 108852 h 108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852" h="108852">
                  <a:moveTo>
                    <a:pt x="0" y="0"/>
                  </a:moveTo>
                  <a:lnTo>
                    <a:pt x="108852" y="0"/>
                  </a:lnTo>
                  <a:lnTo>
                    <a:pt x="108852" y="108852"/>
                  </a:lnTo>
                  <a:lnTo>
                    <a:pt x="0" y="108852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47" name="Freeform: Shape 446">
              <a:extLst>
                <a:ext uri="{FF2B5EF4-FFF2-40B4-BE49-F238E27FC236}">
                  <a16:creationId xmlns:a16="http://schemas.microsoft.com/office/drawing/2014/main" id="{A4F8A67C-AD43-8BC3-F13F-6A5CAABF3816}"/>
                </a:ext>
              </a:extLst>
            </p:cNvPr>
            <p:cNvSpPr/>
            <p:nvPr/>
          </p:nvSpPr>
          <p:spPr>
            <a:xfrm>
              <a:off x="2882664" y="4640842"/>
              <a:ext cx="216477" cy="54419"/>
            </a:xfrm>
            <a:custGeom>
              <a:avLst/>
              <a:gdLst>
                <a:gd name="connsiteX0" fmla="*/ 0 w 216477"/>
                <a:gd name="connsiteY0" fmla="*/ 54420 h 54419"/>
                <a:gd name="connsiteX1" fmla="*/ 108245 w 216477"/>
                <a:gd name="connsiteY1" fmla="*/ 0 h 54419"/>
                <a:gd name="connsiteX2" fmla="*/ 216478 w 216477"/>
                <a:gd name="connsiteY2" fmla="*/ 54420 h 54419"/>
                <a:gd name="connsiteX3" fmla="*/ 108245 w 216477"/>
                <a:gd name="connsiteY3" fmla="*/ 0 h 54419"/>
                <a:gd name="connsiteX4" fmla="*/ 0 w 216477"/>
                <a:gd name="connsiteY4" fmla="*/ 54420 h 54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477" h="54419">
                  <a:moveTo>
                    <a:pt x="0" y="54420"/>
                  </a:moveTo>
                  <a:cubicBezTo>
                    <a:pt x="24836" y="21564"/>
                    <a:pt x="63863" y="0"/>
                    <a:pt x="108245" y="0"/>
                  </a:cubicBezTo>
                  <a:cubicBezTo>
                    <a:pt x="152628" y="0"/>
                    <a:pt x="191642" y="21564"/>
                    <a:pt x="216478" y="54420"/>
                  </a:cubicBezTo>
                  <a:cubicBezTo>
                    <a:pt x="191642" y="21564"/>
                    <a:pt x="152615" y="0"/>
                    <a:pt x="108245" y="0"/>
                  </a:cubicBezTo>
                  <a:cubicBezTo>
                    <a:pt x="63876" y="0"/>
                    <a:pt x="24836" y="21564"/>
                    <a:pt x="0" y="54420"/>
                  </a:cubicBez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48" name="Freeform: Shape 447">
              <a:extLst>
                <a:ext uri="{FF2B5EF4-FFF2-40B4-BE49-F238E27FC236}">
                  <a16:creationId xmlns:a16="http://schemas.microsoft.com/office/drawing/2014/main" id="{6B86A376-31F8-20AA-1678-511DF07711C1}"/>
                </a:ext>
              </a:extLst>
            </p:cNvPr>
            <p:cNvSpPr/>
            <p:nvPr/>
          </p:nvSpPr>
          <p:spPr>
            <a:xfrm>
              <a:off x="2854834" y="4749681"/>
              <a:ext cx="272123" cy="163271"/>
            </a:xfrm>
            <a:custGeom>
              <a:avLst/>
              <a:gdLst>
                <a:gd name="connsiteX0" fmla="*/ 2849 w 272123"/>
                <a:gd name="connsiteY0" fmla="*/ 0 h 163271"/>
                <a:gd name="connsiteX1" fmla="*/ 0 w 272123"/>
                <a:gd name="connsiteY1" fmla="*/ 27210 h 163271"/>
                <a:gd name="connsiteX2" fmla="*/ 136062 w 272123"/>
                <a:gd name="connsiteY2" fmla="*/ 163272 h 163271"/>
                <a:gd name="connsiteX3" fmla="*/ 272124 w 272123"/>
                <a:gd name="connsiteY3" fmla="*/ 27210 h 163271"/>
                <a:gd name="connsiteX4" fmla="*/ 269275 w 272123"/>
                <a:gd name="connsiteY4" fmla="*/ 0 h 163271"/>
                <a:gd name="connsiteX5" fmla="*/ 272124 w 272123"/>
                <a:gd name="connsiteY5" fmla="*/ 27210 h 163271"/>
                <a:gd name="connsiteX6" fmla="*/ 136062 w 272123"/>
                <a:gd name="connsiteY6" fmla="*/ 163272 h 163271"/>
                <a:gd name="connsiteX7" fmla="*/ 0 w 272123"/>
                <a:gd name="connsiteY7" fmla="*/ 27210 h 163271"/>
                <a:gd name="connsiteX8" fmla="*/ 2849 w 272123"/>
                <a:gd name="connsiteY8" fmla="*/ 0 h 163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2123" h="163271">
                  <a:moveTo>
                    <a:pt x="2849" y="0"/>
                  </a:moveTo>
                  <a:cubicBezTo>
                    <a:pt x="1029" y="8797"/>
                    <a:pt x="0" y="17872"/>
                    <a:pt x="0" y="27210"/>
                  </a:cubicBezTo>
                  <a:cubicBezTo>
                    <a:pt x="0" y="102363"/>
                    <a:pt x="60909" y="163272"/>
                    <a:pt x="136062" y="163272"/>
                  </a:cubicBezTo>
                  <a:cubicBezTo>
                    <a:pt x="211215" y="163272"/>
                    <a:pt x="272124" y="102363"/>
                    <a:pt x="272124" y="27210"/>
                  </a:cubicBezTo>
                  <a:cubicBezTo>
                    <a:pt x="272124" y="17872"/>
                    <a:pt x="271095" y="8797"/>
                    <a:pt x="269275" y="0"/>
                  </a:cubicBezTo>
                  <a:cubicBezTo>
                    <a:pt x="271095" y="8797"/>
                    <a:pt x="272124" y="17872"/>
                    <a:pt x="272124" y="27210"/>
                  </a:cubicBezTo>
                  <a:cubicBezTo>
                    <a:pt x="272124" y="102363"/>
                    <a:pt x="211202" y="163272"/>
                    <a:pt x="136062" y="163272"/>
                  </a:cubicBezTo>
                  <a:cubicBezTo>
                    <a:pt x="60922" y="163272"/>
                    <a:pt x="0" y="102363"/>
                    <a:pt x="0" y="27210"/>
                  </a:cubicBezTo>
                  <a:cubicBezTo>
                    <a:pt x="0" y="17872"/>
                    <a:pt x="1029" y="8797"/>
                    <a:pt x="2849" y="0"/>
                  </a:cubicBez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grpSp>
          <p:nvGrpSpPr>
            <p:cNvPr id="449" name="Graphic 1023">
              <a:extLst>
                <a:ext uri="{FF2B5EF4-FFF2-40B4-BE49-F238E27FC236}">
                  <a16:creationId xmlns:a16="http://schemas.microsoft.com/office/drawing/2014/main" id="{D892B4F3-155B-FDCA-F4D0-FBAE4152FDC8}"/>
                </a:ext>
              </a:extLst>
            </p:cNvPr>
            <p:cNvGrpSpPr/>
            <p:nvPr/>
          </p:nvGrpSpPr>
          <p:grpSpPr>
            <a:xfrm>
              <a:off x="2926453" y="4749246"/>
              <a:ext cx="129282" cy="86192"/>
              <a:chOff x="2926453" y="4749246"/>
              <a:chExt cx="129282" cy="86192"/>
            </a:xfrm>
            <a:noFill/>
          </p:grpSpPr>
          <p:sp>
            <p:nvSpPr>
              <p:cNvPr id="450" name="Freeform: Shape 449">
                <a:extLst>
                  <a:ext uri="{FF2B5EF4-FFF2-40B4-BE49-F238E27FC236}">
                    <a16:creationId xmlns:a16="http://schemas.microsoft.com/office/drawing/2014/main" id="{9D986FFF-0113-7853-88A7-C16A437A07A4}"/>
                  </a:ext>
                </a:extLst>
              </p:cNvPr>
              <p:cNvSpPr/>
              <p:nvPr/>
            </p:nvSpPr>
            <p:spPr>
              <a:xfrm>
                <a:off x="2926453" y="4749246"/>
                <a:ext cx="129282" cy="86192"/>
              </a:xfrm>
              <a:custGeom>
                <a:avLst/>
                <a:gdLst>
                  <a:gd name="connsiteX0" fmla="*/ 129283 w 129282"/>
                  <a:gd name="connsiteY0" fmla="*/ 43103 h 86192"/>
                  <a:gd name="connsiteX1" fmla="*/ 64641 w 129282"/>
                  <a:gd name="connsiteY1" fmla="*/ 86193 h 86192"/>
                  <a:gd name="connsiteX2" fmla="*/ 0 w 129282"/>
                  <a:gd name="connsiteY2" fmla="*/ 43103 h 86192"/>
                  <a:gd name="connsiteX3" fmla="*/ 64641 w 129282"/>
                  <a:gd name="connsiteY3" fmla="*/ 0 h 86192"/>
                  <a:gd name="connsiteX4" fmla="*/ 129283 w 129282"/>
                  <a:gd name="connsiteY4" fmla="*/ 43103 h 86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282" h="86192">
                    <a:moveTo>
                      <a:pt x="129283" y="43103"/>
                    </a:moveTo>
                    <a:cubicBezTo>
                      <a:pt x="129283" y="43103"/>
                      <a:pt x="106293" y="86193"/>
                      <a:pt x="64641" y="86193"/>
                    </a:cubicBezTo>
                    <a:cubicBezTo>
                      <a:pt x="18927" y="86193"/>
                      <a:pt x="0" y="43103"/>
                      <a:pt x="0" y="43103"/>
                    </a:cubicBezTo>
                    <a:cubicBezTo>
                      <a:pt x="0" y="43103"/>
                      <a:pt x="21974" y="0"/>
                      <a:pt x="64641" y="0"/>
                    </a:cubicBezTo>
                    <a:cubicBezTo>
                      <a:pt x="103761" y="0"/>
                      <a:pt x="129283" y="43103"/>
                      <a:pt x="129283" y="43103"/>
                    </a:cubicBez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51" name="Freeform: Shape 450">
                <a:extLst>
                  <a:ext uri="{FF2B5EF4-FFF2-40B4-BE49-F238E27FC236}">
                    <a16:creationId xmlns:a16="http://schemas.microsoft.com/office/drawing/2014/main" id="{DC0ED4D0-71C8-C0D2-7915-6E9FFECF6A99}"/>
                  </a:ext>
                </a:extLst>
              </p:cNvPr>
              <p:cNvSpPr/>
              <p:nvPr/>
            </p:nvSpPr>
            <p:spPr>
              <a:xfrm>
                <a:off x="2991094" y="4779094"/>
                <a:ext cx="1318" cy="25864"/>
              </a:xfrm>
              <a:custGeom>
                <a:avLst/>
                <a:gdLst>
                  <a:gd name="connsiteX0" fmla="*/ 0 w 1318"/>
                  <a:gd name="connsiteY0" fmla="*/ 0 h 25864"/>
                  <a:gd name="connsiteX1" fmla="*/ 0 w 1318"/>
                  <a:gd name="connsiteY1" fmla="*/ 25864 h 25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8" h="25864">
                    <a:moveTo>
                      <a:pt x="0" y="0"/>
                    </a:moveTo>
                    <a:lnTo>
                      <a:pt x="0" y="25864"/>
                    </a:lnTo>
                  </a:path>
                </a:pathLst>
              </a:custGeom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</p:grpSp>
      </p:grpSp>
      <p:grpSp>
        <p:nvGrpSpPr>
          <p:cNvPr id="452" name="Graphic 1023">
            <a:extLst>
              <a:ext uri="{FF2B5EF4-FFF2-40B4-BE49-F238E27FC236}">
                <a16:creationId xmlns:a16="http://schemas.microsoft.com/office/drawing/2014/main" id="{7D93D7FD-E212-C0CA-2ABC-6AFEA6044EEA}"/>
              </a:ext>
            </a:extLst>
          </p:cNvPr>
          <p:cNvGrpSpPr>
            <a:grpSpLocks noChangeAspect="1"/>
          </p:cNvGrpSpPr>
          <p:nvPr/>
        </p:nvGrpSpPr>
        <p:grpSpPr>
          <a:xfrm>
            <a:off x="7311682" y="5252789"/>
            <a:ext cx="320040" cy="238814"/>
            <a:chOff x="3213339" y="749561"/>
            <a:chExt cx="655628" cy="489231"/>
          </a:xfrm>
          <a:noFill/>
        </p:grpSpPr>
        <p:sp>
          <p:nvSpPr>
            <p:cNvPr id="453" name="Freeform: Shape 452">
              <a:extLst>
                <a:ext uri="{FF2B5EF4-FFF2-40B4-BE49-F238E27FC236}">
                  <a16:creationId xmlns:a16="http://schemas.microsoft.com/office/drawing/2014/main" id="{0A17B4E6-B380-6357-5B08-F1958E53A2BC}"/>
                </a:ext>
              </a:extLst>
            </p:cNvPr>
            <p:cNvSpPr/>
            <p:nvPr/>
          </p:nvSpPr>
          <p:spPr>
            <a:xfrm>
              <a:off x="3359131" y="893679"/>
              <a:ext cx="55395" cy="55395"/>
            </a:xfrm>
            <a:custGeom>
              <a:avLst/>
              <a:gdLst>
                <a:gd name="connsiteX0" fmla="*/ 55395 w 55395"/>
                <a:gd name="connsiteY0" fmla="*/ 27698 h 55395"/>
                <a:gd name="connsiteX1" fmla="*/ 27698 w 55395"/>
                <a:gd name="connsiteY1" fmla="*/ 55396 h 55395"/>
                <a:gd name="connsiteX2" fmla="*/ 0 w 55395"/>
                <a:gd name="connsiteY2" fmla="*/ 27698 h 55395"/>
                <a:gd name="connsiteX3" fmla="*/ 27698 w 55395"/>
                <a:gd name="connsiteY3" fmla="*/ 0 h 55395"/>
                <a:gd name="connsiteX4" fmla="*/ 55395 w 55395"/>
                <a:gd name="connsiteY4" fmla="*/ 27698 h 55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95" h="55395">
                  <a:moveTo>
                    <a:pt x="55395" y="27698"/>
                  </a:moveTo>
                  <a:cubicBezTo>
                    <a:pt x="55395" y="42995"/>
                    <a:pt x="42995" y="55396"/>
                    <a:pt x="27698" y="55396"/>
                  </a:cubicBezTo>
                  <a:cubicBezTo>
                    <a:pt x="12401" y="55396"/>
                    <a:pt x="0" y="42995"/>
                    <a:pt x="0" y="27698"/>
                  </a:cubicBezTo>
                  <a:cubicBezTo>
                    <a:pt x="0" y="12401"/>
                    <a:pt x="12401" y="0"/>
                    <a:pt x="27698" y="0"/>
                  </a:cubicBezTo>
                  <a:cubicBezTo>
                    <a:pt x="42995" y="0"/>
                    <a:pt x="55395" y="12401"/>
                    <a:pt x="55395" y="27698"/>
                  </a:cubicBez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grpSp>
          <p:nvGrpSpPr>
            <p:cNvPr id="454" name="Graphic 1023">
              <a:extLst>
                <a:ext uri="{FF2B5EF4-FFF2-40B4-BE49-F238E27FC236}">
                  <a16:creationId xmlns:a16="http://schemas.microsoft.com/office/drawing/2014/main" id="{D44F6590-D170-1E59-B2F3-7B1031398545}"/>
                </a:ext>
              </a:extLst>
            </p:cNvPr>
            <p:cNvGrpSpPr/>
            <p:nvPr/>
          </p:nvGrpSpPr>
          <p:grpSpPr>
            <a:xfrm>
              <a:off x="3213339" y="749561"/>
              <a:ext cx="491011" cy="489231"/>
              <a:chOff x="3213339" y="749561"/>
              <a:chExt cx="491011" cy="489231"/>
            </a:xfrm>
            <a:noFill/>
          </p:grpSpPr>
          <p:sp>
            <p:nvSpPr>
              <p:cNvPr id="489" name="Freeform: Shape 488">
                <a:extLst>
                  <a:ext uri="{FF2B5EF4-FFF2-40B4-BE49-F238E27FC236}">
                    <a16:creationId xmlns:a16="http://schemas.microsoft.com/office/drawing/2014/main" id="{E8F439C8-CA63-E759-EE06-785A3F8ABFB6}"/>
                  </a:ext>
                </a:extLst>
              </p:cNvPr>
              <p:cNvSpPr/>
              <p:nvPr/>
            </p:nvSpPr>
            <p:spPr>
              <a:xfrm>
                <a:off x="3213339" y="749561"/>
                <a:ext cx="350515" cy="350515"/>
              </a:xfrm>
              <a:custGeom>
                <a:avLst/>
                <a:gdLst>
                  <a:gd name="connsiteX0" fmla="*/ 51330 w 350515"/>
                  <a:gd name="connsiteY0" fmla="*/ 51330 h 350515"/>
                  <a:gd name="connsiteX1" fmla="*/ 51330 w 350515"/>
                  <a:gd name="connsiteY1" fmla="*/ 299185 h 350515"/>
                  <a:gd name="connsiteX2" fmla="*/ 299185 w 350515"/>
                  <a:gd name="connsiteY2" fmla="*/ 299185 h 350515"/>
                  <a:gd name="connsiteX3" fmla="*/ 299185 w 350515"/>
                  <a:gd name="connsiteY3" fmla="*/ 51330 h 350515"/>
                  <a:gd name="connsiteX4" fmla="*/ 51330 w 350515"/>
                  <a:gd name="connsiteY4" fmla="*/ 51330 h 350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0515" h="350515">
                    <a:moveTo>
                      <a:pt x="51330" y="51330"/>
                    </a:moveTo>
                    <a:cubicBezTo>
                      <a:pt x="-17110" y="119770"/>
                      <a:pt x="-17110" y="230745"/>
                      <a:pt x="51330" y="299185"/>
                    </a:cubicBezTo>
                    <a:cubicBezTo>
                      <a:pt x="119770" y="367625"/>
                      <a:pt x="230745" y="367625"/>
                      <a:pt x="299185" y="299185"/>
                    </a:cubicBezTo>
                    <a:cubicBezTo>
                      <a:pt x="367625" y="230745"/>
                      <a:pt x="367625" y="119770"/>
                      <a:pt x="299185" y="51330"/>
                    </a:cubicBezTo>
                    <a:cubicBezTo>
                      <a:pt x="230745" y="-17110"/>
                      <a:pt x="119770" y="-17110"/>
                      <a:pt x="51330" y="51330"/>
                    </a:cubicBez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90" name="Freeform: Shape 489">
                <a:extLst>
                  <a:ext uri="{FF2B5EF4-FFF2-40B4-BE49-F238E27FC236}">
                    <a16:creationId xmlns:a16="http://schemas.microsoft.com/office/drawing/2014/main" id="{EE794D74-78F3-5605-C41D-2C3242CFB424}"/>
                  </a:ext>
                </a:extLst>
              </p:cNvPr>
              <p:cNvSpPr/>
              <p:nvPr/>
            </p:nvSpPr>
            <p:spPr>
              <a:xfrm rot="-2700000">
                <a:off x="3567953" y="1062674"/>
                <a:ext cx="77870" cy="160858"/>
              </a:xfrm>
              <a:custGeom>
                <a:avLst/>
                <a:gdLst>
                  <a:gd name="connsiteX0" fmla="*/ 0 w 77870"/>
                  <a:gd name="connsiteY0" fmla="*/ 0 h 160858"/>
                  <a:gd name="connsiteX1" fmla="*/ 77870 w 77870"/>
                  <a:gd name="connsiteY1" fmla="*/ 0 h 160858"/>
                  <a:gd name="connsiteX2" fmla="*/ 77870 w 77870"/>
                  <a:gd name="connsiteY2" fmla="*/ 160858 h 160858"/>
                  <a:gd name="connsiteX3" fmla="*/ 0 w 77870"/>
                  <a:gd name="connsiteY3" fmla="*/ 160858 h 160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870" h="160858">
                    <a:moveTo>
                      <a:pt x="0" y="0"/>
                    </a:moveTo>
                    <a:lnTo>
                      <a:pt x="77870" y="0"/>
                    </a:lnTo>
                    <a:lnTo>
                      <a:pt x="77870" y="160858"/>
                    </a:lnTo>
                    <a:lnTo>
                      <a:pt x="0" y="160858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91" name="Freeform: Shape 490">
                <a:extLst>
                  <a:ext uri="{FF2B5EF4-FFF2-40B4-BE49-F238E27FC236}">
                    <a16:creationId xmlns:a16="http://schemas.microsoft.com/office/drawing/2014/main" id="{1F32BC3E-02B6-DF61-248E-5321ECF6AF15}"/>
                  </a:ext>
                </a:extLst>
              </p:cNvPr>
              <p:cNvSpPr/>
              <p:nvPr/>
            </p:nvSpPr>
            <p:spPr>
              <a:xfrm>
                <a:off x="3512524" y="1048760"/>
                <a:ext cx="37471" cy="37471"/>
              </a:xfrm>
              <a:custGeom>
                <a:avLst/>
                <a:gdLst>
                  <a:gd name="connsiteX0" fmla="*/ 0 w 37471"/>
                  <a:gd name="connsiteY0" fmla="*/ 0 h 37471"/>
                  <a:gd name="connsiteX1" fmla="*/ 37471 w 37471"/>
                  <a:gd name="connsiteY1" fmla="*/ 37471 h 37471"/>
                  <a:gd name="connsiteX2" fmla="*/ 0 w 37471"/>
                  <a:gd name="connsiteY2" fmla="*/ 0 h 37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471" h="37471">
                    <a:moveTo>
                      <a:pt x="0" y="0"/>
                    </a:moveTo>
                    <a:lnTo>
                      <a:pt x="37471" y="37471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92" name="Freeform: Shape 491">
                <a:extLst>
                  <a:ext uri="{FF2B5EF4-FFF2-40B4-BE49-F238E27FC236}">
                    <a16:creationId xmlns:a16="http://schemas.microsoft.com/office/drawing/2014/main" id="{F4EEAF49-B18A-256F-4409-4A1BF1A654DF}"/>
                  </a:ext>
                </a:extLst>
              </p:cNvPr>
              <p:cNvSpPr/>
              <p:nvPr/>
            </p:nvSpPr>
            <p:spPr>
              <a:xfrm>
                <a:off x="3664638" y="1199079"/>
                <a:ext cx="39713" cy="39713"/>
              </a:xfrm>
              <a:custGeom>
                <a:avLst/>
                <a:gdLst>
                  <a:gd name="connsiteX0" fmla="*/ 0 w 39713"/>
                  <a:gd name="connsiteY0" fmla="*/ 0 h 39713"/>
                  <a:gd name="connsiteX1" fmla="*/ 39713 w 39713"/>
                  <a:gd name="connsiteY1" fmla="*/ 39713 h 39713"/>
                  <a:gd name="connsiteX2" fmla="*/ 0 w 39713"/>
                  <a:gd name="connsiteY2" fmla="*/ 0 h 39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9713" h="39713">
                    <a:moveTo>
                      <a:pt x="0" y="0"/>
                    </a:moveTo>
                    <a:lnTo>
                      <a:pt x="39713" y="39713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</p:grpSp>
        <p:grpSp>
          <p:nvGrpSpPr>
            <p:cNvPr id="455" name="Graphic 1023">
              <a:extLst>
                <a:ext uri="{FF2B5EF4-FFF2-40B4-BE49-F238E27FC236}">
                  <a16:creationId xmlns:a16="http://schemas.microsoft.com/office/drawing/2014/main" id="{5C518322-61BA-E052-6A31-EA2C5A27D731}"/>
                </a:ext>
              </a:extLst>
            </p:cNvPr>
            <p:cNvGrpSpPr/>
            <p:nvPr/>
          </p:nvGrpSpPr>
          <p:grpSpPr>
            <a:xfrm>
              <a:off x="3278017" y="815835"/>
              <a:ext cx="215554" cy="215554"/>
              <a:chOff x="3278017" y="815835"/>
              <a:chExt cx="215554" cy="215554"/>
            </a:xfrm>
            <a:noFill/>
          </p:grpSpPr>
          <p:sp>
            <p:nvSpPr>
              <p:cNvPr id="480" name="Freeform: Shape 479">
                <a:extLst>
                  <a:ext uri="{FF2B5EF4-FFF2-40B4-BE49-F238E27FC236}">
                    <a16:creationId xmlns:a16="http://schemas.microsoft.com/office/drawing/2014/main" id="{7F76D813-210B-1938-96F2-04C7AD288F81}"/>
                  </a:ext>
                </a:extLst>
              </p:cNvPr>
              <p:cNvSpPr/>
              <p:nvPr/>
            </p:nvSpPr>
            <p:spPr>
              <a:xfrm>
                <a:off x="3314376" y="852194"/>
                <a:ext cx="142835" cy="142835"/>
              </a:xfrm>
              <a:custGeom>
                <a:avLst/>
                <a:gdLst>
                  <a:gd name="connsiteX0" fmla="*/ 121768 w 142835"/>
                  <a:gd name="connsiteY0" fmla="*/ 122058 h 142835"/>
                  <a:gd name="connsiteX1" fmla="*/ 20777 w 142835"/>
                  <a:gd name="connsiteY1" fmla="*/ 121768 h 142835"/>
                  <a:gd name="connsiteX2" fmla="*/ 21067 w 142835"/>
                  <a:gd name="connsiteY2" fmla="*/ 20777 h 142835"/>
                  <a:gd name="connsiteX3" fmla="*/ 122058 w 142835"/>
                  <a:gd name="connsiteY3" fmla="*/ 21067 h 142835"/>
                  <a:gd name="connsiteX4" fmla="*/ 121768 w 142835"/>
                  <a:gd name="connsiteY4" fmla="*/ 122058 h 142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835" h="142835">
                    <a:moveTo>
                      <a:pt x="121768" y="122058"/>
                    </a:moveTo>
                    <a:cubicBezTo>
                      <a:pt x="93793" y="149875"/>
                      <a:pt x="48580" y="149743"/>
                      <a:pt x="20777" y="121768"/>
                    </a:cubicBezTo>
                    <a:cubicBezTo>
                      <a:pt x="-7040" y="93793"/>
                      <a:pt x="-6908" y="48580"/>
                      <a:pt x="21067" y="20777"/>
                    </a:cubicBezTo>
                    <a:cubicBezTo>
                      <a:pt x="49042" y="-7040"/>
                      <a:pt x="94255" y="-6908"/>
                      <a:pt x="122058" y="21067"/>
                    </a:cubicBezTo>
                    <a:cubicBezTo>
                      <a:pt x="149875" y="49042"/>
                      <a:pt x="149743" y="94255"/>
                      <a:pt x="121768" y="122058"/>
                    </a:cubicBez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81" name="Freeform: Shape 480">
                <a:extLst>
                  <a:ext uri="{FF2B5EF4-FFF2-40B4-BE49-F238E27FC236}">
                    <a16:creationId xmlns:a16="http://schemas.microsoft.com/office/drawing/2014/main" id="{0A26E7A9-D5EA-7F0F-F19A-371BED83ABCE}"/>
                  </a:ext>
                </a:extLst>
              </p:cNvPr>
              <p:cNvSpPr/>
              <p:nvPr/>
            </p:nvSpPr>
            <p:spPr>
              <a:xfrm>
                <a:off x="3309803" y="847186"/>
                <a:ext cx="23529" cy="23661"/>
              </a:xfrm>
              <a:custGeom>
                <a:avLst/>
                <a:gdLst>
                  <a:gd name="connsiteX0" fmla="*/ 0 w 23529"/>
                  <a:gd name="connsiteY0" fmla="*/ 0 h 23661"/>
                  <a:gd name="connsiteX1" fmla="*/ 23530 w 23529"/>
                  <a:gd name="connsiteY1" fmla="*/ 23662 h 23661"/>
                  <a:gd name="connsiteX2" fmla="*/ 0 w 23529"/>
                  <a:gd name="connsiteY2" fmla="*/ 0 h 2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529" h="23661">
                    <a:moveTo>
                      <a:pt x="0" y="0"/>
                    </a:moveTo>
                    <a:lnTo>
                      <a:pt x="23530" y="23662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82" name="Freeform: Shape 481">
                <a:extLst>
                  <a:ext uri="{FF2B5EF4-FFF2-40B4-BE49-F238E27FC236}">
                    <a16:creationId xmlns:a16="http://schemas.microsoft.com/office/drawing/2014/main" id="{7654CF4C-DB73-3716-979F-40FB97862E0E}"/>
                  </a:ext>
                </a:extLst>
              </p:cNvPr>
              <p:cNvSpPr/>
              <p:nvPr/>
            </p:nvSpPr>
            <p:spPr>
              <a:xfrm>
                <a:off x="3438255" y="976376"/>
                <a:ext cx="23530" cy="23661"/>
              </a:xfrm>
              <a:custGeom>
                <a:avLst/>
                <a:gdLst>
                  <a:gd name="connsiteX0" fmla="*/ 0 w 23530"/>
                  <a:gd name="connsiteY0" fmla="*/ 0 h 23661"/>
                  <a:gd name="connsiteX1" fmla="*/ 23530 w 23530"/>
                  <a:gd name="connsiteY1" fmla="*/ 23662 h 23661"/>
                  <a:gd name="connsiteX2" fmla="*/ 0 w 23530"/>
                  <a:gd name="connsiteY2" fmla="*/ 0 h 2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530" h="23661">
                    <a:moveTo>
                      <a:pt x="0" y="0"/>
                    </a:moveTo>
                    <a:lnTo>
                      <a:pt x="23530" y="23662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83" name="Freeform: Shape 482">
                <a:extLst>
                  <a:ext uri="{FF2B5EF4-FFF2-40B4-BE49-F238E27FC236}">
                    <a16:creationId xmlns:a16="http://schemas.microsoft.com/office/drawing/2014/main" id="{21757C95-7471-A257-2B96-D42C747F4515}"/>
                  </a:ext>
                </a:extLst>
              </p:cNvPr>
              <p:cNvSpPr/>
              <p:nvPr/>
            </p:nvSpPr>
            <p:spPr>
              <a:xfrm>
                <a:off x="3278017" y="923302"/>
                <a:ext cx="33369" cy="92"/>
              </a:xfrm>
              <a:custGeom>
                <a:avLst/>
                <a:gdLst>
                  <a:gd name="connsiteX0" fmla="*/ 0 w 33369"/>
                  <a:gd name="connsiteY0" fmla="*/ 0 h 92"/>
                  <a:gd name="connsiteX1" fmla="*/ 33369 w 33369"/>
                  <a:gd name="connsiteY1" fmla="*/ 92 h 92"/>
                  <a:gd name="connsiteX2" fmla="*/ 0 w 33369"/>
                  <a:gd name="connsiteY2" fmla="*/ 0 h 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69" h="92">
                    <a:moveTo>
                      <a:pt x="0" y="0"/>
                    </a:moveTo>
                    <a:lnTo>
                      <a:pt x="33369" y="92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84" name="Freeform: Shape 483">
                <a:extLst>
                  <a:ext uri="{FF2B5EF4-FFF2-40B4-BE49-F238E27FC236}">
                    <a16:creationId xmlns:a16="http://schemas.microsoft.com/office/drawing/2014/main" id="{89149CB3-BA70-827A-BBE5-272867BF944E}"/>
                  </a:ext>
                </a:extLst>
              </p:cNvPr>
              <p:cNvSpPr/>
              <p:nvPr/>
            </p:nvSpPr>
            <p:spPr>
              <a:xfrm>
                <a:off x="3460202" y="923817"/>
                <a:ext cx="33369" cy="92"/>
              </a:xfrm>
              <a:custGeom>
                <a:avLst/>
                <a:gdLst>
                  <a:gd name="connsiteX0" fmla="*/ 0 w 33369"/>
                  <a:gd name="connsiteY0" fmla="*/ 0 h 92"/>
                  <a:gd name="connsiteX1" fmla="*/ 33369 w 33369"/>
                  <a:gd name="connsiteY1" fmla="*/ 92 h 92"/>
                  <a:gd name="connsiteX2" fmla="*/ 0 w 33369"/>
                  <a:gd name="connsiteY2" fmla="*/ 0 h 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69" h="92">
                    <a:moveTo>
                      <a:pt x="0" y="0"/>
                    </a:moveTo>
                    <a:lnTo>
                      <a:pt x="33369" y="92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85" name="Freeform: Shape 484">
                <a:extLst>
                  <a:ext uri="{FF2B5EF4-FFF2-40B4-BE49-F238E27FC236}">
                    <a16:creationId xmlns:a16="http://schemas.microsoft.com/office/drawing/2014/main" id="{5E4A3D55-1B59-2782-68DC-B614564EA6C5}"/>
                  </a:ext>
                </a:extLst>
              </p:cNvPr>
              <p:cNvSpPr/>
              <p:nvPr/>
            </p:nvSpPr>
            <p:spPr>
              <a:xfrm>
                <a:off x="3309368" y="976073"/>
                <a:ext cx="23661" cy="23529"/>
              </a:xfrm>
              <a:custGeom>
                <a:avLst/>
                <a:gdLst>
                  <a:gd name="connsiteX0" fmla="*/ 0 w 23661"/>
                  <a:gd name="connsiteY0" fmla="*/ 23530 h 23529"/>
                  <a:gd name="connsiteX1" fmla="*/ 23662 w 23661"/>
                  <a:gd name="connsiteY1" fmla="*/ 0 h 23529"/>
                  <a:gd name="connsiteX2" fmla="*/ 0 w 23661"/>
                  <a:gd name="connsiteY2" fmla="*/ 23530 h 23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661" h="23529">
                    <a:moveTo>
                      <a:pt x="0" y="23530"/>
                    </a:moveTo>
                    <a:lnTo>
                      <a:pt x="23662" y="0"/>
                    </a:lnTo>
                    <a:lnTo>
                      <a:pt x="0" y="23530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86" name="Freeform: Shape 485">
                <a:extLst>
                  <a:ext uri="{FF2B5EF4-FFF2-40B4-BE49-F238E27FC236}">
                    <a16:creationId xmlns:a16="http://schemas.microsoft.com/office/drawing/2014/main" id="{E97D3469-8C11-0CDB-E049-602976EDF9CF}"/>
                  </a:ext>
                </a:extLst>
              </p:cNvPr>
              <p:cNvSpPr/>
              <p:nvPr/>
            </p:nvSpPr>
            <p:spPr>
              <a:xfrm>
                <a:off x="3438558" y="847621"/>
                <a:ext cx="23661" cy="23529"/>
              </a:xfrm>
              <a:custGeom>
                <a:avLst/>
                <a:gdLst>
                  <a:gd name="connsiteX0" fmla="*/ 0 w 23661"/>
                  <a:gd name="connsiteY0" fmla="*/ 23530 h 23529"/>
                  <a:gd name="connsiteX1" fmla="*/ 23662 w 23661"/>
                  <a:gd name="connsiteY1" fmla="*/ 0 h 23529"/>
                  <a:gd name="connsiteX2" fmla="*/ 0 w 23661"/>
                  <a:gd name="connsiteY2" fmla="*/ 23530 h 23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661" h="23529">
                    <a:moveTo>
                      <a:pt x="0" y="23530"/>
                    </a:moveTo>
                    <a:lnTo>
                      <a:pt x="23662" y="0"/>
                    </a:lnTo>
                    <a:lnTo>
                      <a:pt x="0" y="23530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87" name="Freeform: Shape 486">
                <a:extLst>
                  <a:ext uri="{FF2B5EF4-FFF2-40B4-BE49-F238E27FC236}">
                    <a16:creationId xmlns:a16="http://schemas.microsoft.com/office/drawing/2014/main" id="{A4E058EE-37F5-5A8D-4275-DFB5AFEF3DE1}"/>
                  </a:ext>
                </a:extLst>
              </p:cNvPr>
              <p:cNvSpPr/>
              <p:nvPr/>
            </p:nvSpPr>
            <p:spPr>
              <a:xfrm>
                <a:off x="3385484" y="998020"/>
                <a:ext cx="92" cy="33369"/>
              </a:xfrm>
              <a:custGeom>
                <a:avLst/>
                <a:gdLst>
                  <a:gd name="connsiteX0" fmla="*/ 0 w 92"/>
                  <a:gd name="connsiteY0" fmla="*/ 33369 h 33369"/>
                  <a:gd name="connsiteX1" fmla="*/ 92 w 92"/>
                  <a:gd name="connsiteY1" fmla="*/ 0 h 33369"/>
                  <a:gd name="connsiteX2" fmla="*/ 0 w 92"/>
                  <a:gd name="connsiteY2" fmla="*/ 33369 h 33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" h="33369">
                    <a:moveTo>
                      <a:pt x="0" y="33369"/>
                    </a:moveTo>
                    <a:lnTo>
                      <a:pt x="92" y="0"/>
                    </a:lnTo>
                    <a:lnTo>
                      <a:pt x="0" y="33369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88" name="Freeform: Shape 487">
                <a:extLst>
                  <a:ext uri="{FF2B5EF4-FFF2-40B4-BE49-F238E27FC236}">
                    <a16:creationId xmlns:a16="http://schemas.microsoft.com/office/drawing/2014/main" id="{6E1B75E0-846E-0056-FB58-DC7D363E483F}"/>
                  </a:ext>
                </a:extLst>
              </p:cNvPr>
              <p:cNvSpPr/>
              <p:nvPr/>
            </p:nvSpPr>
            <p:spPr>
              <a:xfrm>
                <a:off x="3385998" y="815835"/>
                <a:ext cx="92" cy="33369"/>
              </a:xfrm>
              <a:custGeom>
                <a:avLst/>
                <a:gdLst>
                  <a:gd name="connsiteX0" fmla="*/ 0 w 92"/>
                  <a:gd name="connsiteY0" fmla="*/ 33369 h 33369"/>
                  <a:gd name="connsiteX1" fmla="*/ 92 w 92"/>
                  <a:gd name="connsiteY1" fmla="*/ 0 h 33369"/>
                  <a:gd name="connsiteX2" fmla="*/ 0 w 92"/>
                  <a:gd name="connsiteY2" fmla="*/ 33369 h 33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" h="33369">
                    <a:moveTo>
                      <a:pt x="0" y="33369"/>
                    </a:moveTo>
                    <a:lnTo>
                      <a:pt x="92" y="0"/>
                    </a:lnTo>
                    <a:lnTo>
                      <a:pt x="0" y="33369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</p:grpSp>
        <p:grpSp>
          <p:nvGrpSpPr>
            <p:cNvPr id="456" name="Graphic 1023">
              <a:extLst>
                <a:ext uri="{FF2B5EF4-FFF2-40B4-BE49-F238E27FC236}">
                  <a16:creationId xmlns:a16="http://schemas.microsoft.com/office/drawing/2014/main" id="{2105ED0B-A0B9-B553-30EF-D3671EABE6A6}"/>
                </a:ext>
              </a:extLst>
            </p:cNvPr>
            <p:cNvGrpSpPr/>
            <p:nvPr/>
          </p:nvGrpSpPr>
          <p:grpSpPr>
            <a:xfrm>
              <a:off x="3576862" y="924832"/>
              <a:ext cx="118335" cy="118335"/>
              <a:chOff x="3576862" y="924832"/>
              <a:chExt cx="118335" cy="118335"/>
            </a:xfrm>
            <a:noFill/>
          </p:grpSpPr>
          <p:sp>
            <p:nvSpPr>
              <p:cNvPr id="471" name="Freeform: Shape 470">
                <a:extLst>
                  <a:ext uri="{FF2B5EF4-FFF2-40B4-BE49-F238E27FC236}">
                    <a16:creationId xmlns:a16="http://schemas.microsoft.com/office/drawing/2014/main" id="{1D7FA8E9-6F9E-9E77-337E-649D56E542B6}"/>
                  </a:ext>
                </a:extLst>
              </p:cNvPr>
              <p:cNvSpPr/>
              <p:nvPr/>
            </p:nvSpPr>
            <p:spPr>
              <a:xfrm>
                <a:off x="3596821" y="944791"/>
                <a:ext cx="78417" cy="78417"/>
              </a:xfrm>
              <a:custGeom>
                <a:avLst/>
                <a:gdLst>
                  <a:gd name="connsiteX0" fmla="*/ 66854 w 78417"/>
                  <a:gd name="connsiteY0" fmla="*/ 67012 h 78417"/>
                  <a:gd name="connsiteX1" fmla="*/ 11406 w 78417"/>
                  <a:gd name="connsiteY1" fmla="*/ 66854 h 78417"/>
                  <a:gd name="connsiteX2" fmla="*/ 11564 w 78417"/>
                  <a:gd name="connsiteY2" fmla="*/ 11406 h 78417"/>
                  <a:gd name="connsiteX3" fmla="*/ 67012 w 78417"/>
                  <a:gd name="connsiteY3" fmla="*/ 11564 h 78417"/>
                  <a:gd name="connsiteX4" fmla="*/ 66854 w 78417"/>
                  <a:gd name="connsiteY4" fmla="*/ 67012 h 78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8417" h="78417">
                    <a:moveTo>
                      <a:pt x="66854" y="67012"/>
                    </a:moveTo>
                    <a:cubicBezTo>
                      <a:pt x="51501" y="82286"/>
                      <a:pt x="26666" y="82206"/>
                      <a:pt x="11406" y="66854"/>
                    </a:cubicBezTo>
                    <a:cubicBezTo>
                      <a:pt x="-3868" y="51502"/>
                      <a:pt x="-3788" y="26666"/>
                      <a:pt x="11564" y="11406"/>
                    </a:cubicBezTo>
                    <a:cubicBezTo>
                      <a:pt x="26916" y="-3868"/>
                      <a:pt x="51752" y="-3788"/>
                      <a:pt x="67012" y="11564"/>
                    </a:cubicBezTo>
                    <a:cubicBezTo>
                      <a:pt x="82286" y="26916"/>
                      <a:pt x="82206" y="51739"/>
                      <a:pt x="66854" y="67012"/>
                    </a:cubicBez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72" name="Freeform: Shape 471">
                <a:extLst>
                  <a:ext uri="{FF2B5EF4-FFF2-40B4-BE49-F238E27FC236}">
                    <a16:creationId xmlns:a16="http://schemas.microsoft.com/office/drawing/2014/main" id="{CF8D1EB5-FB8C-18B7-7574-5E9B7C0E1188}"/>
                  </a:ext>
                </a:extLst>
              </p:cNvPr>
              <p:cNvSpPr/>
              <p:nvPr/>
            </p:nvSpPr>
            <p:spPr>
              <a:xfrm>
                <a:off x="3594312" y="942031"/>
                <a:ext cx="12912" cy="12991"/>
              </a:xfrm>
              <a:custGeom>
                <a:avLst/>
                <a:gdLst>
                  <a:gd name="connsiteX0" fmla="*/ 0 w 12912"/>
                  <a:gd name="connsiteY0" fmla="*/ 0 h 12991"/>
                  <a:gd name="connsiteX1" fmla="*/ 12912 w 12912"/>
                  <a:gd name="connsiteY1" fmla="*/ 12992 h 12991"/>
                  <a:gd name="connsiteX2" fmla="*/ 0 w 12912"/>
                  <a:gd name="connsiteY2" fmla="*/ 0 h 12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912" h="12991">
                    <a:moveTo>
                      <a:pt x="0" y="0"/>
                    </a:moveTo>
                    <a:lnTo>
                      <a:pt x="12912" y="12992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73" name="Freeform: Shape 472">
                <a:extLst>
                  <a:ext uri="{FF2B5EF4-FFF2-40B4-BE49-F238E27FC236}">
                    <a16:creationId xmlns:a16="http://schemas.microsoft.com/office/drawing/2014/main" id="{44EDB449-9582-AA93-3858-F4C4B38B3DFC}"/>
                  </a:ext>
                </a:extLst>
              </p:cNvPr>
              <p:cNvSpPr/>
              <p:nvPr/>
            </p:nvSpPr>
            <p:spPr>
              <a:xfrm>
                <a:off x="3664835" y="1012964"/>
                <a:ext cx="12912" cy="12991"/>
              </a:xfrm>
              <a:custGeom>
                <a:avLst/>
                <a:gdLst>
                  <a:gd name="connsiteX0" fmla="*/ 0 w 12912"/>
                  <a:gd name="connsiteY0" fmla="*/ 0 h 12991"/>
                  <a:gd name="connsiteX1" fmla="*/ 12912 w 12912"/>
                  <a:gd name="connsiteY1" fmla="*/ 12992 h 12991"/>
                  <a:gd name="connsiteX2" fmla="*/ 0 w 12912"/>
                  <a:gd name="connsiteY2" fmla="*/ 0 h 12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912" h="12991">
                    <a:moveTo>
                      <a:pt x="0" y="0"/>
                    </a:moveTo>
                    <a:lnTo>
                      <a:pt x="12912" y="12992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74" name="Freeform: Shape 473">
                <a:extLst>
                  <a:ext uri="{FF2B5EF4-FFF2-40B4-BE49-F238E27FC236}">
                    <a16:creationId xmlns:a16="http://schemas.microsoft.com/office/drawing/2014/main" id="{986AFCA6-7DFD-9878-7AC6-4C8ECFFD0EED}"/>
                  </a:ext>
                </a:extLst>
              </p:cNvPr>
              <p:cNvSpPr/>
              <p:nvPr/>
            </p:nvSpPr>
            <p:spPr>
              <a:xfrm>
                <a:off x="3576862" y="983828"/>
                <a:ext cx="18320" cy="52"/>
              </a:xfrm>
              <a:custGeom>
                <a:avLst/>
                <a:gdLst>
                  <a:gd name="connsiteX0" fmla="*/ 0 w 18320"/>
                  <a:gd name="connsiteY0" fmla="*/ 0 h 52"/>
                  <a:gd name="connsiteX1" fmla="*/ 18320 w 18320"/>
                  <a:gd name="connsiteY1" fmla="*/ 53 h 52"/>
                  <a:gd name="connsiteX2" fmla="*/ 0 w 18320"/>
                  <a:gd name="connsiteY2" fmla="*/ 0 h 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320" h="52">
                    <a:moveTo>
                      <a:pt x="0" y="0"/>
                    </a:moveTo>
                    <a:lnTo>
                      <a:pt x="18320" y="53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75" name="Freeform: Shape 474">
                <a:extLst>
                  <a:ext uri="{FF2B5EF4-FFF2-40B4-BE49-F238E27FC236}">
                    <a16:creationId xmlns:a16="http://schemas.microsoft.com/office/drawing/2014/main" id="{CD288B6A-032F-8C51-B850-2C7E9EF6D145}"/>
                  </a:ext>
                </a:extLst>
              </p:cNvPr>
              <p:cNvSpPr/>
              <p:nvPr/>
            </p:nvSpPr>
            <p:spPr>
              <a:xfrm>
                <a:off x="3676877" y="984118"/>
                <a:ext cx="18320" cy="52"/>
              </a:xfrm>
              <a:custGeom>
                <a:avLst/>
                <a:gdLst>
                  <a:gd name="connsiteX0" fmla="*/ 0 w 18320"/>
                  <a:gd name="connsiteY0" fmla="*/ 0 h 52"/>
                  <a:gd name="connsiteX1" fmla="*/ 18320 w 18320"/>
                  <a:gd name="connsiteY1" fmla="*/ 53 h 52"/>
                  <a:gd name="connsiteX2" fmla="*/ 0 w 18320"/>
                  <a:gd name="connsiteY2" fmla="*/ 0 h 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320" h="52">
                    <a:moveTo>
                      <a:pt x="0" y="0"/>
                    </a:moveTo>
                    <a:lnTo>
                      <a:pt x="18320" y="53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76" name="Freeform: Shape 475">
                <a:extLst>
                  <a:ext uri="{FF2B5EF4-FFF2-40B4-BE49-F238E27FC236}">
                    <a16:creationId xmlns:a16="http://schemas.microsoft.com/office/drawing/2014/main" id="{E1FBE38C-D5FD-5DB3-B85E-38AD46BE4B21}"/>
                  </a:ext>
                </a:extLst>
              </p:cNvPr>
              <p:cNvSpPr/>
              <p:nvPr/>
            </p:nvSpPr>
            <p:spPr>
              <a:xfrm>
                <a:off x="3594074" y="1012805"/>
                <a:ext cx="12991" cy="12912"/>
              </a:xfrm>
              <a:custGeom>
                <a:avLst/>
                <a:gdLst>
                  <a:gd name="connsiteX0" fmla="*/ 0 w 12991"/>
                  <a:gd name="connsiteY0" fmla="*/ 12912 h 12912"/>
                  <a:gd name="connsiteX1" fmla="*/ 12992 w 12991"/>
                  <a:gd name="connsiteY1" fmla="*/ 0 h 12912"/>
                  <a:gd name="connsiteX2" fmla="*/ 0 w 12991"/>
                  <a:gd name="connsiteY2" fmla="*/ 12912 h 12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991" h="12912">
                    <a:moveTo>
                      <a:pt x="0" y="12912"/>
                    </a:moveTo>
                    <a:lnTo>
                      <a:pt x="12992" y="0"/>
                    </a:lnTo>
                    <a:lnTo>
                      <a:pt x="0" y="12912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77" name="Freeform: Shape 476">
                <a:extLst>
                  <a:ext uri="{FF2B5EF4-FFF2-40B4-BE49-F238E27FC236}">
                    <a16:creationId xmlns:a16="http://schemas.microsoft.com/office/drawing/2014/main" id="{72AF5BE0-697E-D0A7-362D-B2DB96015096}"/>
                  </a:ext>
                </a:extLst>
              </p:cNvPr>
              <p:cNvSpPr/>
              <p:nvPr/>
            </p:nvSpPr>
            <p:spPr>
              <a:xfrm>
                <a:off x="3664994" y="942282"/>
                <a:ext cx="12991" cy="12912"/>
              </a:xfrm>
              <a:custGeom>
                <a:avLst/>
                <a:gdLst>
                  <a:gd name="connsiteX0" fmla="*/ 0 w 12991"/>
                  <a:gd name="connsiteY0" fmla="*/ 12912 h 12912"/>
                  <a:gd name="connsiteX1" fmla="*/ 12992 w 12991"/>
                  <a:gd name="connsiteY1" fmla="*/ 0 h 12912"/>
                  <a:gd name="connsiteX2" fmla="*/ 0 w 12991"/>
                  <a:gd name="connsiteY2" fmla="*/ 12912 h 12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991" h="12912">
                    <a:moveTo>
                      <a:pt x="0" y="12912"/>
                    </a:moveTo>
                    <a:lnTo>
                      <a:pt x="12992" y="0"/>
                    </a:lnTo>
                    <a:lnTo>
                      <a:pt x="0" y="12912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78" name="Freeform: Shape 477">
                <a:extLst>
                  <a:ext uri="{FF2B5EF4-FFF2-40B4-BE49-F238E27FC236}">
                    <a16:creationId xmlns:a16="http://schemas.microsoft.com/office/drawing/2014/main" id="{610C9CA2-4C3D-0EFF-EEEA-CA8CBA8B67CC}"/>
                  </a:ext>
                </a:extLst>
              </p:cNvPr>
              <p:cNvSpPr/>
              <p:nvPr/>
            </p:nvSpPr>
            <p:spPr>
              <a:xfrm>
                <a:off x="3635858" y="1024847"/>
                <a:ext cx="52" cy="18320"/>
              </a:xfrm>
              <a:custGeom>
                <a:avLst/>
                <a:gdLst>
                  <a:gd name="connsiteX0" fmla="*/ 0 w 52"/>
                  <a:gd name="connsiteY0" fmla="*/ 18320 h 18320"/>
                  <a:gd name="connsiteX1" fmla="*/ 53 w 52"/>
                  <a:gd name="connsiteY1" fmla="*/ 0 h 18320"/>
                  <a:gd name="connsiteX2" fmla="*/ 0 w 52"/>
                  <a:gd name="connsiteY2" fmla="*/ 18320 h 18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" h="18320">
                    <a:moveTo>
                      <a:pt x="0" y="18320"/>
                    </a:moveTo>
                    <a:lnTo>
                      <a:pt x="53" y="0"/>
                    </a:lnTo>
                    <a:lnTo>
                      <a:pt x="0" y="18320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79" name="Freeform: Shape 478">
                <a:extLst>
                  <a:ext uri="{FF2B5EF4-FFF2-40B4-BE49-F238E27FC236}">
                    <a16:creationId xmlns:a16="http://schemas.microsoft.com/office/drawing/2014/main" id="{58465877-2B19-089A-92FF-569D0F8D38D5}"/>
                  </a:ext>
                </a:extLst>
              </p:cNvPr>
              <p:cNvSpPr/>
              <p:nvPr/>
            </p:nvSpPr>
            <p:spPr>
              <a:xfrm>
                <a:off x="3636148" y="924832"/>
                <a:ext cx="52" cy="18320"/>
              </a:xfrm>
              <a:custGeom>
                <a:avLst/>
                <a:gdLst>
                  <a:gd name="connsiteX0" fmla="*/ 0 w 52"/>
                  <a:gd name="connsiteY0" fmla="*/ 18320 h 18320"/>
                  <a:gd name="connsiteX1" fmla="*/ 53 w 52"/>
                  <a:gd name="connsiteY1" fmla="*/ 0 h 18320"/>
                  <a:gd name="connsiteX2" fmla="*/ 0 w 52"/>
                  <a:gd name="connsiteY2" fmla="*/ 18320 h 18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" h="18320">
                    <a:moveTo>
                      <a:pt x="0" y="18320"/>
                    </a:moveTo>
                    <a:lnTo>
                      <a:pt x="53" y="0"/>
                    </a:lnTo>
                    <a:lnTo>
                      <a:pt x="0" y="18320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</p:grpSp>
        <p:grpSp>
          <p:nvGrpSpPr>
            <p:cNvPr id="457" name="Graphic 1023">
              <a:extLst>
                <a:ext uri="{FF2B5EF4-FFF2-40B4-BE49-F238E27FC236}">
                  <a16:creationId xmlns:a16="http://schemas.microsoft.com/office/drawing/2014/main" id="{204B0BBC-06DA-ADA4-BA73-5A89ECD4B5C5}"/>
                </a:ext>
              </a:extLst>
            </p:cNvPr>
            <p:cNvGrpSpPr/>
            <p:nvPr/>
          </p:nvGrpSpPr>
          <p:grpSpPr>
            <a:xfrm>
              <a:off x="3660575" y="848914"/>
              <a:ext cx="80165" cy="80165"/>
              <a:chOff x="3660575" y="848914"/>
              <a:chExt cx="80165" cy="80165"/>
            </a:xfrm>
            <a:noFill/>
          </p:grpSpPr>
          <p:sp>
            <p:nvSpPr>
              <p:cNvPr id="462" name="Freeform: Shape 461">
                <a:extLst>
                  <a:ext uri="{FF2B5EF4-FFF2-40B4-BE49-F238E27FC236}">
                    <a16:creationId xmlns:a16="http://schemas.microsoft.com/office/drawing/2014/main" id="{6C6CDB0E-F983-1947-E8EF-388A4389AAB3}"/>
                  </a:ext>
                </a:extLst>
              </p:cNvPr>
              <p:cNvSpPr/>
              <p:nvPr/>
            </p:nvSpPr>
            <p:spPr>
              <a:xfrm>
                <a:off x="3674096" y="862435"/>
                <a:ext cx="53123" cy="53123"/>
              </a:xfrm>
              <a:custGeom>
                <a:avLst/>
                <a:gdLst>
                  <a:gd name="connsiteX0" fmla="*/ 45291 w 53123"/>
                  <a:gd name="connsiteY0" fmla="*/ 45396 h 53123"/>
                  <a:gd name="connsiteX1" fmla="*/ 7727 w 53123"/>
                  <a:gd name="connsiteY1" fmla="*/ 45291 h 53123"/>
                  <a:gd name="connsiteX2" fmla="*/ 7833 w 53123"/>
                  <a:gd name="connsiteY2" fmla="*/ 7727 h 53123"/>
                  <a:gd name="connsiteX3" fmla="*/ 45396 w 53123"/>
                  <a:gd name="connsiteY3" fmla="*/ 7833 h 53123"/>
                  <a:gd name="connsiteX4" fmla="*/ 45291 w 53123"/>
                  <a:gd name="connsiteY4" fmla="*/ 45396 h 53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123" h="53123">
                    <a:moveTo>
                      <a:pt x="45291" y="45396"/>
                    </a:moveTo>
                    <a:cubicBezTo>
                      <a:pt x="34884" y="55737"/>
                      <a:pt x="18068" y="55697"/>
                      <a:pt x="7727" y="45291"/>
                    </a:cubicBezTo>
                    <a:cubicBezTo>
                      <a:pt x="-2613" y="34884"/>
                      <a:pt x="-2573" y="18068"/>
                      <a:pt x="7833" y="7727"/>
                    </a:cubicBezTo>
                    <a:cubicBezTo>
                      <a:pt x="18239" y="-2613"/>
                      <a:pt x="35056" y="-2573"/>
                      <a:pt x="45396" y="7833"/>
                    </a:cubicBezTo>
                    <a:cubicBezTo>
                      <a:pt x="55737" y="18239"/>
                      <a:pt x="55697" y="35056"/>
                      <a:pt x="45291" y="45396"/>
                    </a:cubicBez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63" name="Freeform: Shape 462">
                <a:extLst>
                  <a:ext uri="{FF2B5EF4-FFF2-40B4-BE49-F238E27FC236}">
                    <a16:creationId xmlns:a16="http://schemas.microsoft.com/office/drawing/2014/main" id="{32538D82-5579-11CF-679B-6FFB9BAB9919}"/>
                  </a:ext>
                </a:extLst>
              </p:cNvPr>
              <p:cNvSpPr/>
              <p:nvPr/>
            </p:nvSpPr>
            <p:spPr>
              <a:xfrm>
                <a:off x="3672393" y="860573"/>
                <a:ext cx="8757" cy="8797"/>
              </a:xfrm>
              <a:custGeom>
                <a:avLst/>
                <a:gdLst>
                  <a:gd name="connsiteX0" fmla="*/ 0 w 8757"/>
                  <a:gd name="connsiteY0" fmla="*/ 0 h 8797"/>
                  <a:gd name="connsiteX1" fmla="*/ 8758 w 8757"/>
                  <a:gd name="connsiteY1" fmla="*/ 8797 h 8797"/>
                  <a:gd name="connsiteX2" fmla="*/ 0 w 8757"/>
                  <a:gd name="connsiteY2" fmla="*/ 0 h 8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757" h="8797">
                    <a:moveTo>
                      <a:pt x="0" y="0"/>
                    </a:moveTo>
                    <a:lnTo>
                      <a:pt x="8758" y="8797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64" name="Freeform: Shape 463">
                <a:extLst>
                  <a:ext uri="{FF2B5EF4-FFF2-40B4-BE49-F238E27FC236}">
                    <a16:creationId xmlns:a16="http://schemas.microsoft.com/office/drawing/2014/main" id="{84EFFCC0-4550-1F39-DEAC-1B0979F76230}"/>
                  </a:ext>
                </a:extLst>
              </p:cNvPr>
              <p:cNvSpPr/>
              <p:nvPr/>
            </p:nvSpPr>
            <p:spPr>
              <a:xfrm>
                <a:off x="3720165" y="908622"/>
                <a:ext cx="8757" cy="8797"/>
              </a:xfrm>
              <a:custGeom>
                <a:avLst/>
                <a:gdLst>
                  <a:gd name="connsiteX0" fmla="*/ 0 w 8757"/>
                  <a:gd name="connsiteY0" fmla="*/ 0 h 8797"/>
                  <a:gd name="connsiteX1" fmla="*/ 8758 w 8757"/>
                  <a:gd name="connsiteY1" fmla="*/ 8797 h 8797"/>
                  <a:gd name="connsiteX2" fmla="*/ 0 w 8757"/>
                  <a:gd name="connsiteY2" fmla="*/ 0 h 8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757" h="8797">
                    <a:moveTo>
                      <a:pt x="0" y="0"/>
                    </a:moveTo>
                    <a:lnTo>
                      <a:pt x="8758" y="8797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65" name="Freeform: Shape 464">
                <a:extLst>
                  <a:ext uri="{FF2B5EF4-FFF2-40B4-BE49-F238E27FC236}">
                    <a16:creationId xmlns:a16="http://schemas.microsoft.com/office/drawing/2014/main" id="{C64B03B6-8DBE-6EC6-EF32-6327D5607ABB}"/>
                  </a:ext>
                </a:extLst>
              </p:cNvPr>
              <p:cNvSpPr/>
              <p:nvPr/>
            </p:nvSpPr>
            <p:spPr>
              <a:xfrm>
                <a:off x="3660575" y="888891"/>
                <a:ext cx="12411" cy="39"/>
              </a:xfrm>
              <a:custGeom>
                <a:avLst/>
                <a:gdLst>
                  <a:gd name="connsiteX0" fmla="*/ 0 w 12411"/>
                  <a:gd name="connsiteY0" fmla="*/ 0 h 39"/>
                  <a:gd name="connsiteX1" fmla="*/ 12411 w 12411"/>
                  <a:gd name="connsiteY1" fmla="*/ 40 h 39"/>
                  <a:gd name="connsiteX2" fmla="*/ 0 w 12411"/>
                  <a:gd name="connsiteY2" fmla="*/ 0 h 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411" h="39">
                    <a:moveTo>
                      <a:pt x="0" y="0"/>
                    </a:moveTo>
                    <a:lnTo>
                      <a:pt x="12411" y="4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66" name="Freeform: Shape 465">
                <a:extLst>
                  <a:ext uri="{FF2B5EF4-FFF2-40B4-BE49-F238E27FC236}">
                    <a16:creationId xmlns:a16="http://schemas.microsoft.com/office/drawing/2014/main" id="{6BAD5AF3-667F-B3CF-693C-B488E1E4EFDB}"/>
                  </a:ext>
                </a:extLst>
              </p:cNvPr>
              <p:cNvSpPr/>
              <p:nvPr/>
            </p:nvSpPr>
            <p:spPr>
              <a:xfrm>
                <a:off x="3728329" y="889076"/>
                <a:ext cx="12411" cy="39"/>
              </a:xfrm>
              <a:custGeom>
                <a:avLst/>
                <a:gdLst>
                  <a:gd name="connsiteX0" fmla="*/ 0 w 12411"/>
                  <a:gd name="connsiteY0" fmla="*/ 0 h 39"/>
                  <a:gd name="connsiteX1" fmla="*/ 12411 w 12411"/>
                  <a:gd name="connsiteY1" fmla="*/ 40 h 39"/>
                  <a:gd name="connsiteX2" fmla="*/ 0 w 12411"/>
                  <a:gd name="connsiteY2" fmla="*/ 0 h 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411" h="39">
                    <a:moveTo>
                      <a:pt x="0" y="0"/>
                    </a:moveTo>
                    <a:lnTo>
                      <a:pt x="12411" y="4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67" name="Freeform: Shape 466">
                <a:extLst>
                  <a:ext uri="{FF2B5EF4-FFF2-40B4-BE49-F238E27FC236}">
                    <a16:creationId xmlns:a16="http://schemas.microsoft.com/office/drawing/2014/main" id="{27C25D73-3EE4-63E8-3A14-6B8CCEC26A5C}"/>
                  </a:ext>
                </a:extLst>
              </p:cNvPr>
              <p:cNvSpPr/>
              <p:nvPr/>
            </p:nvSpPr>
            <p:spPr>
              <a:xfrm>
                <a:off x="3672235" y="908517"/>
                <a:ext cx="8797" cy="8744"/>
              </a:xfrm>
              <a:custGeom>
                <a:avLst/>
                <a:gdLst>
                  <a:gd name="connsiteX0" fmla="*/ 0 w 8797"/>
                  <a:gd name="connsiteY0" fmla="*/ 8745 h 8744"/>
                  <a:gd name="connsiteX1" fmla="*/ 8797 w 8797"/>
                  <a:gd name="connsiteY1" fmla="*/ 0 h 8744"/>
                  <a:gd name="connsiteX2" fmla="*/ 0 w 8797"/>
                  <a:gd name="connsiteY2" fmla="*/ 8745 h 8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797" h="8744">
                    <a:moveTo>
                      <a:pt x="0" y="8745"/>
                    </a:moveTo>
                    <a:lnTo>
                      <a:pt x="8797" y="0"/>
                    </a:lnTo>
                    <a:lnTo>
                      <a:pt x="0" y="8745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68" name="Freeform: Shape 467">
                <a:extLst>
                  <a:ext uri="{FF2B5EF4-FFF2-40B4-BE49-F238E27FC236}">
                    <a16:creationId xmlns:a16="http://schemas.microsoft.com/office/drawing/2014/main" id="{46360EBF-8A8C-3920-2BEF-91BB2A20F6F2}"/>
                  </a:ext>
                </a:extLst>
              </p:cNvPr>
              <p:cNvSpPr/>
              <p:nvPr/>
            </p:nvSpPr>
            <p:spPr>
              <a:xfrm>
                <a:off x="3720284" y="860745"/>
                <a:ext cx="8797" cy="8744"/>
              </a:xfrm>
              <a:custGeom>
                <a:avLst/>
                <a:gdLst>
                  <a:gd name="connsiteX0" fmla="*/ 0 w 8797"/>
                  <a:gd name="connsiteY0" fmla="*/ 8745 h 8744"/>
                  <a:gd name="connsiteX1" fmla="*/ 8797 w 8797"/>
                  <a:gd name="connsiteY1" fmla="*/ 0 h 8744"/>
                  <a:gd name="connsiteX2" fmla="*/ 0 w 8797"/>
                  <a:gd name="connsiteY2" fmla="*/ 8745 h 8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797" h="8744">
                    <a:moveTo>
                      <a:pt x="0" y="8745"/>
                    </a:moveTo>
                    <a:lnTo>
                      <a:pt x="8797" y="0"/>
                    </a:lnTo>
                    <a:lnTo>
                      <a:pt x="0" y="8745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69" name="Freeform: Shape 468">
                <a:extLst>
                  <a:ext uri="{FF2B5EF4-FFF2-40B4-BE49-F238E27FC236}">
                    <a16:creationId xmlns:a16="http://schemas.microsoft.com/office/drawing/2014/main" id="{FEFE4DD2-BA89-FFDF-3956-99DDB98DFD33}"/>
                  </a:ext>
                </a:extLst>
              </p:cNvPr>
              <p:cNvSpPr/>
              <p:nvPr/>
            </p:nvSpPr>
            <p:spPr>
              <a:xfrm>
                <a:off x="3700539" y="916668"/>
                <a:ext cx="39" cy="12411"/>
              </a:xfrm>
              <a:custGeom>
                <a:avLst/>
                <a:gdLst>
                  <a:gd name="connsiteX0" fmla="*/ 0 w 39"/>
                  <a:gd name="connsiteY0" fmla="*/ 12411 h 12411"/>
                  <a:gd name="connsiteX1" fmla="*/ 39 w 39"/>
                  <a:gd name="connsiteY1" fmla="*/ 0 h 12411"/>
                  <a:gd name="connsiteX2" fmla="*/ 0 w 39"/>
                  <a:gd name="connsiteY2" fmla="*/ 12411 h 12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9" h="12411">
                    <a:moveTo>
                      <a:pt x="0" y="12411"/>
                    </a:moveTo>
                    <a:lnTo>
                      <a:pt x="39" y="0"/>
                    </a:lnTo>
                    <a:lnTo>
                      <a:pt x="0" y="12411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70" name="Freeform: Shape 469">
                <a:extLst>
                  <a:ext uri="{FF2B5EF4-FFF2-40B4-BE49-F238E27FC236}">
                    <a16:creationId xmlns:a16="http://schemas.microsoft.com/office/drawing/2014/main" id="{D4F59BFA-0D96-9CA3-FD23-6751BDE177FC}"/>
                  </a:ext>
                </a:extLst>
              </p:cNvPr>
              <p:cNvSpPr/>
              <p:nvPr/>
            </p:nvSpPr>
            <p:spPr>
              <a:xfrm>
                <a:off x="3700737" y="848914"/>
                <a:ext cx="39" cy="12411"/>
              </a:xfrm>
              <a:custGeom>
                <a:avLst/>
                <a:gdLst>
                  <a:gd name="connsiteX0" fmla="*/ 0 w 39"/>
                  <a:gd name="connsiteY0" fmla="*/ 12411 h 12411"/>
                  <a:gd name="connsiteX1" fmla="*/ 40 w 39"/>
                  <a:gd name="connsiteY1" fmla="*/ 0 h 12411"/>
                  <a:gd name="connsiteX2" fmla="*/ 0 w 39"/>
                  <a:gd name="connsiteY2" fmla="*/ 12411 h 12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9" h="12411">
                    <a:moveTo>
                      <a:pt x="0" y="12411"/>
                    </a:moveTo>
                    <a:lnTo>
                      <a:pt x="40" y="0"/>
                    </a:lnTo>
                    <a:lnTo>
                      <a:pt x="0" y="12411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</p:grpSp>
        <p:grpSp>
          <p:nvGrpSpPr>
            <p:cNvPr id="458" name="Graphic 1023">
              <a:extLst>
                <a:ext uri="{FF2B5EF4-FFF2-40B4-BE49-F238E27FC236}">
                  <a16:creationId xmlns:a16="http://schemas.microsoft.com/office/drawing/2014/main" id="{D79A13ED-C37C-A4C9-75F8-18DA438A9C87}"/>
                </a:ext>
              </a:extLst>
            </p:cNvPr>
            <p:cNvGrpSpPr/>
            <p:nvPr/>
          </p:nvGrpSpPr>
          <p:grpSpPr>
            <a:xfrm>
              <a:off x="3700658" y="915085"/>
              <a:ext cx="168310" cy="189874"/>
              <a:chOff x="3700658" y="915085"/>
              <a:chExt cx="168310" cy="189874"/>
            </a:xfrm>
            <a:noFill/>
          </p:grpSpPr>
          <p:sp>
            <p:nvSpPr>
              <p:cNvPr id="459" name="Freeform: Shape 458">
                <a:extLst>
                  <a:ext uri="{FF2B5EF4-FFF2-40B4-BE49-F238E27FC236}">
                    <a16:creationId xmlns:a16="http://schemas.microsoft.com/office/drawing/2014/main" id="{E401F4E1-834F-6E4A-655A-9D7D07E780D6}"/>
                  </a:ext>
                </a:extLst>
              </p:cNvPr>
              <p:cNvSpPr/>
              <p:nvPr/>
            </p:nvSpPr>
            <p:spPr>
              <a:xfrm>
                <a:off x="3823346" y="1029042"/>
                <a:ext cx="45622" cy="75918"/>
              </a:xfrm>
              <a:custGeom>
                <a:avLst/>
                <a:gdLst>
                  <a:gd name="connsiteX0" fmla="*/ 0 w 45622"/>
                  <a:gd name="connsiteY0" fmla="*/ 0 h 75918"/>
                  <a:gd name="connsiteX1" fmla="*/ 27144 w 45622"/>
                  <a:gd name="connsiteY1" fmla="*/ 5117 h 75918"/>
                  <a:gd name="connsiteX2" fmla="*/ 45622 w 45622"/>
                  <a:gd name="connsiteY2" fmla="*/ 26247 h 75918"/>
                  <a:gd name="connsiteX3" fmla="*/ 45622 w 45622"/>
                  <a:gd name="connsiteY3" fmla="*/ 75918 h 75918"/>
                  <a:gd name="connsiteX4" fmla="*/ 45622 w 45622"/>
                  <a:gd name="connsiteY4" fmla="*/ 26247 h 75918"/>
                  <a:gd name="connsiteX5" fmla="*/ 27144 w 45622"/>
                  <a:gd name="connsiteY5" fmla="*/ 5117 h 75918"/>
                  <a:gd name="connsiteX6" fmla="*/ 0 w 45622"/>
                  <a:gd name="connsiteY6" fmla="*/ 0 h 75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622" h="75918">
                    <a:moveTo>
                      <a:pt x="0" y="0"/>
                    </a:moveTo>
                    <a:lnTo>
                      <a:pt x="27144" y="5117"/>
                    </a:lnTo>
                    <a:cubicBezTo>
                      <a:pt x="37722" y="6542"/>
                      <a:pt x="45622" y="15563"/>
                      <a:pt x="45622" y="26247"/>
                    </a:cubicBezTo>
                    <a:lnTo>
                      <a:pt x="45622" y="75918"/>
                    </a:lnTo>
                    <a:lnTo>
                      <a:pt x="45622" y="26247"/>
                    </a:lnTo>
                    <a:cubicBezTo>
                      <a:pt x="45622" y="15563"/>
                      <a:pt x="37722" y="6542"/>
                      <a:pt x="27144" y="5117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60" name="Freeform: Shape 459">
                <a:extLst>
                  <a:ext uri="{FF2B5EF4-FFF2-40B4-BE49-F238E27FC236}">
                    <a16:creationId xmlns:a16="http://schemas.microsoft.com/office/drawing/2014/main" id="{8A3544CE-0B81-3919-C110-05320DF2E0DC}"/>
                  </a:ext>
                </a:extLst>
              </p:cNvPr>
              <p:cNvSpPr/>
              <p:nvPr/>
            </p:nvSpPr>
            <p:spPr>
              <a:xfrm>
                <a:off x="3700658" y="1029042"/>
                <a:ext cx="45622" cy="75918"/>
              </a:xfrm>
              <a:custGeom>
                <a:avLst/>
                <a:gdLst>
                  <a:gd name="connsiteX0" fmla="*/ 45622 w 45622"/>
                  <a:gd name="connsiteY0" fmla="*/ 0 h 75918"/>
                  <a:gd name="connsiteX1" fmla="*/ 18478 w 45622"/>
                  <a:gd name="connsiteY1" fmla="*/ 5117 h 75918"/>
                  <a:gd name="connsiteX2" fmla="*/ 0 w 45622"/>
                  <a:gd name="connsiteY2" fmla="*/ 26247 h 75918"/>
                  <a:gd name="connsiteX3" fmla="*/ 0 w 45622"/>
                  <a:gd name="connsiteY3" fmla="*/ 75918 h 75918"/>
                  <a:gd name="connsiteX4" fmla="*/ 0 w 45622"/>
                  <a:gd name="connsiteY4" fmla="*/ 26247 h 75918"/>
                  <a:gd name="connsiteX5" fmla="*/ 18478 w 45622"/>
                  <a:gd name="connsiteY5" fmla="*/ 5117 h 75918"/>
                  <a:gd name="connsiteX6" fmla="*/ 45622 w 45622"/>
                  <a:gd name="connsiteY6" fmla="*/ 0 h 75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622" h="75918">
                    <a:moveTo>
                      <a:pt x="45622" y="0"/>
                    </a:moveTo>
                    <a:lnTo>
                      <a:pt x="18478" y="5117"/>
                    </a:lnTo>
                    <a:cubicBezTo>
                      <a:pt x="7900" y="6542"/>
                      <a:pt x="0" y="15563"/>
                      <a:pt x="0" y="26247"/>
                    </a:cubicBezTo>
                    <a:lnTo>
                      <a:pt x="0" y="75918"/>
                    </a:lnTo>
                    <a:lnTo>
                      <a:pt x="0" y="26247"/>
                    </a:lnTo>
                    <a:cubicBezTo>
                      <a:pt x="0" y="15563"/>
                      <a:pt x="7900" y="6542"/>
                      <a:pt x="18478" y="5117"/>
                    </a:cubicBezTo>
                    <a:lnTo>
                      <a:pt x="45622" y="0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  <p:sp>
            <p:nvSpPr>
              <p:cNvPr id="461" name="Freeform: Shape 460">
                <a:extLst>
                  <a:ext uri="{FF2B5EF4-FFF2-40B4-BE49-F238E27FC236}">
                    <a16:creationId xmlns:a16="http://schemas.microsoft.com/office/drawing/2014/main" id="{4629E01F-5E62-5C15-9126-D15A1894081A}"/>
                  </a:ext>
                </a:extLst>
              </p:cNvPr>
              <p:cNvSpPr/>
              <p:nvPr/>
            </p:nvSpPr>
            <p:spPr>
              <a:xfrm>
                <a:off x="3747177" y="915085"/>
                <a:ext cx="75285" cy="92180"/>
              </a:xfrm>
              <a:custGeom>
                <a:avLst/>
                <a:gdLst>
                  <a:gd name="connsiteX0" fmla="*/ 0 w 75285"/>
                  <a:gd name="connsiteY0" fmla="*/ 35295 h 92180"/>
                  <a:gd name="connsiteX1" fmla="*/ 37642 w 75285"/>
                  <a:gd name="connsiteY1" fmla="*/ 0 h 92180"/>
                  <a:gd name="connsiteX2" fmla="*/ 75285 w 75285"/>
                  <a:gd name="connsiteY2" fmla="*/ 35295 h 92180"/>
                  <a:gd name="connsiteX3" fmla="*/ 75285 w 75285"/>
                  <a:gd name="connsiteY3" fmla="*/ 53589 h 92180"/>
                  <a:gd name="connsiteX4" fmla="*/ 63876 w 75285"/>
                  <a:gd name="connsiteY4" fmla="*/ 81260 h 92180"/>
                  <a:gd name="connsiteX5" fmla="*/ 63876 w 75285"/>
                  <a:gd name="connsiteY5" fmla="*/ 81260 h 92180"/>
                  <a:gd name="connsiteX6" fmla="*/ 37629 w 75285"/>
                  <a:gd name="connsiteY6" fmla="*/ 92181 h 92180"/>
                  <a:gd name="connsiteX7" fmla="*/ 37629 w 75285"/>
                  <a:gd name="connsiteY7" fmla="*/ 92181 h 92180"/>
                  <a:gd name="connsiteX8" fmla="*/ 11330 w 75285"/>
                  <a:gd name="connsiteY8" fmla="*/ 81207 h 92180"/>
                  <a:gd name="connsiteX9" fmla="*/ 11330 w 75285"/>
                  <a:gd name="connsiteY9" fmla="*/ 81207 h 92180"/>
                  <a:gd name="connsiteX10" fmla="*/ 13 w 75285"/>
                  <a:gd name="connsiteY10" fmla="*/ 53681 h 92180"/>
                  <a:gd name="connsiteX11" fmla="*/ 13 w 75285"/>
                  <a:gd name="connsiteY11" fmla="*/ 35295 h 92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5285" h="92180">
                    <a:moveTo>
                      <a:pt x="0" y="35295"/>
                    </a:moveTo>
                    <a:cubicBezTo>
                      <a:pt x="0" y="15801"/>
                      <a:pt x="16856" y="0"/>
                      <a:pt x="37642" y="0"/>
                    </a:cubicBezTo>
                    <a:cubicBezTo>
                      <a:pt x="58429" y="0"/>
                      <a:pt x="75285" y="15801"/>
                      <a:pt x="75285" y="35295"/>
                    </a:cubicBezTo>
                    <a:lnTo>
                      <a:pt x="75285" y="53589"/>
                    </a:lnTo>
                    <a:cubicBezTo>
                      <a:pt x="75285" y="63955"/>
                      <a:pt x="71183" y="73900"/>
                      <a:pt x="63876" y="81260"/>
                    </a:cubicBezTo>
                    <a:lnTo>
                      <a:pt x="63876" y="81260"/>
                    </a:lnTo>
                    <a:cubicBezTo>
                      <a:pt x="56925" y="88250"/>
                      <a:pt x="47482" y="92181"/>
                      <a:pt x="37629" y="92181"/>
                    </a:cubicBezTo>
                    <a:lnTo>
                      <a:pt x="37629" y="92181"/>
                    </a:lnTo>
                    <a:cubicBezTo>
                      <a:pt x="27750" y="92181"/>
                      <a:pt x="18281" y="88224"/>
                      <a:pt x="11330" y="81207"/>
                    </a:cubicBezTo>
                    <a:lnTo>
                      <a:pt x="11330" y="81207"/>
                    </a:lnTo>
                    <a:cubicBezTo>
                      <a:pt x="4089" y="73874"/>
                      <a:pt x="13" y="63982"/>
                      <a:pt x="13" y="53681"/>
                    </a:cubicBezTo>
                    <a:lnTo>
                      <a:pt x="13" y="35295"/>
                    </a:lnTo>
                    <a:close/>
                  </a:path>
                </a:pathLst>
              </a:custGeom>
              <a:noFill/>
              <a:ln w="11865" cap="flat">
                <a:solidFill>
                  <a:schemeClr val="tx2">
                    <a:lumMod val="65000"/>
                    <a:lumOff val="35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>
                  <a:solidFill>
                    <a:schemeClr val="tx2"/>
                  </a:solidFill>
                  <a:latin typeface="Source Sans Pro Light" panose="020B0403030403020204" pitchFamily="34" charset="0"/>
                </a:endParaRPr>
              </a:p>
            </p:txBody>
          </p:sp>
        </p:grpSp>
      </p:grpSp>
      <p:grpSp>
        <p:nvGrpSpPr>
          <p:cNvPr id="493" name="Graphic 1023">
            <a:extLst>
              <a:ext uri="{FF2B5EF4-FFF2-40B4-BE49-F238E27FC236}">
                <a16:creationId xmlns:a16="http://schemas.microsoft.com/office/drawing/2014/main" id="{0BA21CDC-874A-562C-721D-1DC81D2D3785}"/>
              </a:ext>
            </a:extLst>
          </p:cNvPr>
          <p:cNvGrpSpPr>
            <a:grpSpLocks noChangeAspect="1"/>
          </p:cNvGrpSpPr>
          <p:nvPr/>
        </p:nvGrpSpPr>
        <p:grpSpPr>
          <a:xfrm>
            <a:off x="7353631" y="5774309"/>
            <a:ext cx="228600" cy="282782"/>
            <a:chOff x="7469386" y="3678332"/>
            <a:chExt cx="389642" cy="481993"/>
          </a:xfrm>
          <a:noFill/>
        </p:grpSpPr>
        <p:sp>
          <p:nvSpPr>
            <p:cNvPr id="494" name="Freeform: Shape 493">
              <a:extLst>
                <a:ext uri="{FF2B5EF4-FFF2-40B4-BE49-F238E27FC236}">
                  <a16:creationId xmlns:a16="http://schemas.microsoft.com/office/drawing/2014/main" id="{0A44E930-3672-DDDA-0512-A75F89755D1D}"/>
                </a:ext>
              </a:extLst>
            </p:cNvPr>
            <p:cNvSpPr/>
            <p:nvPr/>
          </p:nvSpPr>
          <p:spPr>
            <a:xfrm>
              <a:off x="7469386" y="3678332"/>
              <a:ext cx="389642" cy="481993"/>
            </a:xfrm>
            <a:custGeom>
              <a:avLst/>
              <a:gdLst>
                <a:gd name="connsiteX0" fmla="*/ 0 w 389642"/>
                <a:gd name="connsiteY0" fmla="*/ 481994 h 481993"/>
                <a:gd name="connsiteX1" fmla="*/ 0 w 389642"/>
                <a:gd name="connsiteY1" fmla="*/ 187342 h 481993"/>
                <a:gd name="connsiteX2" fmla="*/ 187342 w 389642"/>
                <a:gd name="connsiteY2" fmla="*/ 0 h 481993"/>
                <a:gd name="connsiteX3" fmla="*/ 187342 w 389642"/>
                <a:gd name="connsiteY3" fmla="*/ 0 h 481993"/>
                <a:gd name="connsiteX4" fmla="*/ 371757 w 389642"/>
                <a:gd name="connsiteY4" fmla="*/ 154356 h 481993"/>
                <a:gd name="connsiteX5" fmla="*/ 389642 w 389642"/>
                <a:gd name="connsiteY5" fmla="*/ 296867 h 481993"/>
                <a:gd name="connsiteX6" fmla="*/ 328456 w 389642"/>
                <a:gd name="connsiteY6" fmla="*/ 296867 h 481993"/>
                <a:gd name="connsiteX7" fmla="*/ 328456 w 389642"/>
                <a:gd name="connsiteY7" fmla="*/ 394930 h 481993"/>
                <a:gd name="connsiteX8" fmla="*/ 217612 w 389642"/>
                <a:gd name="connsiteY8" fmla="*/ 394930 h 481993"/>
                <a:gd name="connsiteX9" fmla="*/ 217612 w 389642"/>
                <a:gd name="connsiteY9" fmla="*/ 453808 h 481993"/>
                <a:gd name="connsiteX10" fmla="*/ 217612 w 389642"/>
                <a:gd name="connsiteY10" fmla="*/ 394930 h 481993"/>
                <a:gd name="connsiteX11" fmla="*/ 328456 w 389642"/>
                <a:gd name="connsiteY11" fmla="*/ 394930 h 481993"/>
                <a:gd name="connsiteX12" fmla="*/ 328456 w 389642"/>
                <a:gd name="connsiteY12" fmla="*/ 296867 h 481993"/>
                <a:gd name="connsiteX13" fmla="*/ 389642 w 389642"/>
                <a:gd name="connsiteY13" fmla="*/ 296867 h 481993"/>
                <a:gd name="connsiteX14" fmla="*/ 371757 w 389642"/>
                <a:gd name="connsiteY14" fmla="*/ 154356 h 481993"/>
                <a:gd name="connsiteX15" fmla="*/ 187342 w 389642"/>
                <a:gd name="connsiteY15" fmla="*/ 0 h 481993"/>
                <a:gd name="connsiteX16" fmla="*/ 187342 w 389642"/>
                <a:gd name="connsiteY16" fmla="*/ 0 h 481993"/>
                <a:gd name="connsiteX17" fmla="*/ 0 w 389642"/>
                <a:gd name="connsiteY17" fmla="*/ 187342 h 481993"/>
                <a:gd name="connsiteX18" fmla="*/ 0 w 389642"/>
                <a:gd name="connsiteY18" fmla="*/ 481994 h 481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9642" h="481993">
                  <a:moveTo>
                    <a:pt x="0" y="481994"/>
                  </a:moveTo>
                  <a:lnTo>
                    <a:pt x="0" y="187342"/>
                  </a:lnTo>
                  <a:cubicBezTo>
                    <a:pt x="0" y="83871"/>
                    <a:pt x="83872" y="0"/>
                    <a:pt x="187342" y="0"/>
                  </a:cubicBezTo>
                  <a:lnTo>
                    <a:pt x="187342" y="0"/>
                  </a:lnTo>
                  <a:cubicBezTo>
                    <a:pt x="278086" y="0"/>
                    <a:pt x="355771" y="65037"/>
                    <a:pt x="371757" y="154356"/>
                  </a:cubicBezTo>
                  <a:lnTo>
                    <a:pt x="389642" y="296867"/>
                  </a:lnTo>
                  <a:lnTo>
                    <a:pt x="328456" y="296867"/>
                  </a:lnTo>
                  <a:lnTo>
                    <a:pt x="328456" y="394930"/>
                  </a:lnTo>
                  <a:lnTo>
                    <a:pt x="217612" y="394930"/>
                  </a:lnTo>
                  <a:lnTo>
                    <a:pt x="217612" y="453808"/>
                  </a:lnTo>
                  <a:lnTo>
                    <a:pt x="217612" y="394930"/>
                  </a:lnTo>
                  <a:lnTo>
                    <a:pt x="328456" y="394930"/>
                  </a:lnTo>
                  <a:lnTo>
                    <a:pt x="328456" y="296867"/>
                  </a:lnTo>
                  <a:lnTo>
                    <a:pt x="389642" y="296867"/>
                  </a:lnTo>
                  <a:lnTo>
                    <a:pt x="371757" y="154356"/>
                  </a:lnTo>
                  <a:cubicBezTo>
                    <a:pt x="355784" y="65037"/>
                    <a:pt x="278086" y="0"/>
                    <a:pt x="187342" y="0"/>
                  </a:cubicBezTo>
                  <a:lnTo>
                    <a:pt x="187342" y="0"/>
                  </a:lnTo>
                  <a:cubicBezTo>
                    <a:pt x="83872" y="0"/>
                    <a:pt x="0" y="83871"/>
                    <a:pt x="0" y="187342"/>
                  </a:cubicBezTo>
                  <a:lnTo>
                    <a:pt x="0" y="481994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95" name="Freeform: Shape 494">
              <a:extLst>
                <a:ext uri="{FF2B5EF4-FFF2-40B4-BE49-F238E27FC236}">
                  <a16:creationId xmlns:a16="http://schemas.microsoft.com/office/drawing/2014/main" id="{F0B62275-AAD3-CD1D-9FC4-A7AEEB005EB8}"/>
                </a:ext>
              </a:extLst>
            </p:cNvPr>
            <p:cNvSpPr/>
            <p:nvPr/>
          </p:nvSpPr>
          <p:spPr>
            <a:xfrm>
              <a:off x="7580006" y="3785707"/>
              <a:ext cx="34872" cy="13453"/>
            </a:xfrm>
            <a:custGeom>
              <a:avLst/>
              <a:gdLst>
                <a:gd name="connsiteX0" fmla="*/ 0 w 34872"/>
                <a:gd name="connsiteY0" fmla="*/ 0 h 13453"/>
                <a:gd name="connsiteX1" fmla="*/ 34873 w 34872"/>
                <a:gd name="connsiteY1" fmla="*/ 13453 h 13453"/>
                <a:gd name="connsiteX2" fmla="*/ 0 w 34872"/>
                <a:gd name="connsiteY2" fmla="*/ 0 h 13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872" h="13453">
                  <a:moveTo>
                    <a:pt x="0" y="0"/>
                  </a:moveTo>
                  <a:cubicBezTo>
                    <a:pt x="13427" y="0"/>
                    <a:pt x="25654" y="5091"/>
                    <a:pt x="34873" y="13453"/>
                  </a:cubicBezTo>
                  <a:cubicBezTo>
                    <a:pt x="25654" y="5091"/>
                    <a:pt x="13427" y="0"/>
                    <a:pt x="0" y="0"/>
                  </a:cubicBez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96" name="Freeform: Shape 495">
              <a:extLst>
                <a:ext uri="{FF2B5EF4-FFF2-40B4-BE49-F238E27FC236}">
                  <a16:creationId xmlns:a16="http://schemas.microsoft.com/office/drawing/2014/main" id="{336E458C-FDDB-754E-5D6F-1E36D86C23D5}"/>
                </a:ext>
              </a:extLst>
            </p:cNvPr>
            <p:cNvSpPr/>
            <p:nvPr/>
          </p:nvSpPr>
          <p:spPr>
            <a:xfrm>
              <a:off x="7687658" y="3761043"/>
              <a:ext cx="28251" cy="16302"/>
            </a:xfrm>
            <a:custGeom>
              <a:avLst/>
              <a:gdLst>
                <a:gd name="connsiteX0" fmla="*/ 0 w 28251"/>
                <a:gd name="connsiteY0" fmla="*/ 16302 h 16302"/>
                <a:gd name="connsiteX1" fmla="*/ 28252 w 28251"/>
                <a:gd name="connsiteY1" fmla="*/ 0 h 16302"/>
                <a:gd name="connsiteX2" fmla="*/ 0 w 28251"/>
                <a:gd name="connsiteY2" fmla="*/ 16302 h 16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251" h="16302">
                  <a:moveTo>
                    <a:pt x="0" y="16302"/>
                  </a:moveTo>
                  <a:cubicBezTo>
                    <a:pt x="5645" y="6555"/>
                    <a:pt x="16183" y="0"/>
                    <a:pt x="28252" y="0"/>
                  </a:cubicBezTo>
                  <a:cubicBezTo>
                    <a:pt x="16183" y="0"/>
                    <a:pt x="5632" y="6555"/>
                    <a:pt x="0" y="16302"/>
                  </a:cubicBez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97" name="Freeform: Shape 496">
              <a:extLst>
                <a:ext uri="{FF2B5EF4-FFF2-40B4-BE49-F238E27FC236}">
                  <a16:creationId xmlns:a16="http://schemas.microsoft.com/office/drawing/2014/main" id="{9BF6E05E-6074-2A81-BA1C-802BAFFAE9C6}"/>
                </a:ext>
              </a:extLst>
            </p:cNvPr>
            <p:cNvSpPr/>
            <p:nvPr/>
          </p:nvSpPr>
          <p:spPr>
            <a:xfrm>
              <a:off x="7528079" y="3736906"/>
              <a:ext cx="251996" cy="152640"/>
            </a:xfrm>
            <a:custGeom>
              <a:avLst/>
              <a:gdLst>
                <a:gd name="connsiteX0" fmla="*/ 51927 w 251996"/>
                <a:gd name="connsiteY0" fmla="*/ 152641 h 152640"/>
                <a:gd name="connsiteX1" fmla="*/ 0 w 251996"/>
                <a:gd name="connsiteY1" fmla="*/ 100714 h 152640"/>
                <a:gd name="connsiteX2" fmla="*/ 51927 w 251996"/>
                <a:gd name="connsiteY2" fmla="*/ 48788 h 152640"/>
                <a:gd name="connsiteX3" fmla="*/ 61938 w 251996"/>
                <a:gd name="connsiteY3" fmla="*/ 49777 h 152640"/>
                <a:gd name="connsiteX4" fmla="*/ 121831 w 251996"/>
                <a:gd name="connsiteY4" fmla="*/ 0 h 152640"/>
                <a:gd name="connsiteX5" fmla="*/ 172980 w 251996"/>
                <a:gd name="connsiteY5" fmla="*/ 27856 h 152640"/>
                <a:gd name="connsiteX6" fmla="*/ 187844 w 251996"/>
                <a:gd name="connsiteY6" fmla="*/ 24123 h 152640"/>
                <a:gd name="connsiteX7" fmla="*/ 220474 w 251996"/>
                <a:gd name="connsiteY7" fmla="*/ 56754 h 152640"/>
                <a:gd name="connsiteX8" fmla="*/ 219815 w 251996"/>
                <a:gd name="connsiteY8" fmla="*/ 63270 h 152640"/>
                <a:gd name="connsiteX9" fmla="*/ 251997 w 251996"/>
                <a:gd name="connsiteY9" fmla="*/ 106808 h 152640"/>
                <a:gd name="connsiteX10" fmla="*/ 206164 w 251996"/>
                <a:gd name="connsiteY10" fmla="*/ 152641 h 152640"/>
                <a:gd name="connsiteX11" fmla="*/ 251997 w 251996"/>
                <a:gd name="connsiteY11" fmla="*/ 106808 h 152640"/>
                <a:gd name="connsiteX12" fmla="*/ 219815 w 251996"/>
                <a:gd name="connsiteY12" fmla="*/ 63270 h 152640"/>
                <a:gd name="connsiteX13" fmla="*/ 220474 w 251996"/>
                <a:gd name="connsiteY13" fmla="*/ 56754 h 152640"/>
                <a:gd name="connsiteX14" fmla="*/ 187844 w 251996"/>
                <a:gd name="connsiteY14" fmla="*/ 24123 h 152640"/>
                <a:gd name="connsiteX15" fmla="*/ 172980 w 251996"/>
                <a:gd name="connsiteY15" fmla="*/ 27856 h 152640"/>
                <a:gd name="connsiteX16" fmla="*/ 121831 w 251996"/>
                <a:gd name="connsiteY16" fmla="*/ 0 h 152640"/>
                <a:gd name="connsiteX17" fmla="*/ 61938 w 251996"/>
                <a:gd name="connsiteY17" fmla="*/ 49777 h 152640"/>
                <a:gd name="connsiteX18" fmla="*/ 51927 w 251996"/>
                <a:gd name="connsiteY18" fmla="*/ 48788 h 152640"/>
                <a:gd name="connsiteX19" fmla="*/ 0 w 251996"/>
                <a:gd name="connsiteY19" fmla="*/ 100714 h 152640"/>
                <a:gd name="connsiteX20" fmla="*/ 51927 w 251996"/>
                <a:gd name="connsiteY20" fmla="*/ 152641 h 152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51996" h="152640">
                  <a:moveTo>
                    <a:pt x="51927" y="152641"/>
                  </a:moveTo>
                  <a:cubicBezTo>
                    <a:pt x="23253" y="152641"/>
                    <a:pt x="0" y="129388"/>
                    <a:pt x="0" y="100714"/>
                  </a:cubicBezTo>
                  <a:cubicBezTo>
                    <a:pt x="0" y="72041"/>
                    <a:pt x="23253" y="48788"/>
                    <a:pt x="51927" y="48788"/>
                  </a:cubicBezTo>
                  <a:cubicBezTo>
                    <a:pt x="55356" y="48788"/>
                    <a:pt x="58706" y="49144"/>
                    <a:pt x="61938" y="49777"/>
                  </a:cubicBezTo>
                  <a:cubicBezTo>
                    <a:pt x="67200" y="21459"/>
                    <a:pt x="91996" y="0"/>
                    <a:pt x="121831" y="0"/>
                  </a:cubicBezTo>
                  <a:cubicBezTo>
                    <a:pt x="143290" y="0"/>
                    <a:pt x="162111" y="11106"/>
                    <a:pt x="172980" y="27856"/>
                  </a:cubicBezTo>
                  <a:cubicBezTo>
                    <a:pt x="177450" y="25548"/>
                    <a:pt x="182449" y="24123"/>
                    <a:pt x="187844" y="24123"/>
                  </a:cubicBezTo>
                  <a:cubicBezTo>
                    <a:pt x="205860" y="24123"/>
                    <a:pt x="220474" y="38737"/>
                    <a:pt x="220474" y="56754"/>
                  </a:cubicBezTo>
                  <a:cubicBezTo>
                    <a:pt x="220474" y="58983"/>
                    <a:pt x="220250" y="61159"/>
                    <a:pt x="219815" y="63270"/>
                  </a:cubicBezTo>
                  <a:cubicBezTo>
                    <a:pt x="238412" y="69113"/>
                    <a:pt x="251997" y="86285"/>
                    <a:pt x="251997" y="106808"/>
                  </a:cubicBezTo>
                  <a:cubicBezTo>
                    <a:pt x="251997" y="132119"/>
                    <a:pt x="231474" y="152641"/>
                    <a:pt x="206164" y="152641"/>
                  </a:cubicBezTo>
                  <a:cubicBezTo>
                    <a:pt x="231474" y="152641"/>
                    <a:pt x="251997" y="132119"/>
                    <a:pt x="251997" y="106808"/>
                  </a:cubicBezTo>
                  <a:cubicBezTo>
                    <a:pt x="251997" y="86285"/>
                    <a:pt x="238412" y="69113"/>
                    <a:pt x="219815" y="63270"/>
                  </a:cubicBezTo>
                  <a:cubicBezTo>
                    <a:pt x="220237" y="61173"/>
                    <a:pt x="220474" y="58983"/>
                    <a:pt x="220474" y="56754"/>
                  </a:cubicBezTo>
                  <a:cubicBezTo>
                    <a:pt x="220474" y="38737"/>
                    <a:pt x="205860" y="24123"/>
                    <a:pt x="187844" y="24123"/>
                  </a:cubicBezTo>
                  <a:cubicBezTo>
                    <a:pt x="182463" y="24123"/>
                    <a:pt x="177464" y="25548"/>
                    <a:pt x="172980" y="27856"/>
                  </a:cubicBezTo>
                  <a:cubicBezTo>
                    <a:pt x="162111" y="11106"/>
                    <a:pt x="143290" y="0"/>
                    <a:pt x="121831" y="0"/>
                  </a:cubicBezTo>
                  <a:cubicBezTo>
                    <a:pt x="91983" y="0"/>
                    <a:pt x="67200" y="21459"/>
                    <a:pt x="61938" y="49777"/>
                  </a:cubicBezTo>
                  <a:cubicBezTo>
                    <a:pt x="58693" y="49144"/>
                    <a:pt x="55356" y="48788"/>
                    <a:pt x="51927" y="48788"/>
                  </a:cubicBezTo>
                  <a:cubicBezTo>
                    <a:pt x="23253" y="48788"/>
                    <a:pt x="0" y="72041"/>
                    <a:pt x="0" y="100714"/>
                  </a:cubicBezTo>
                  <a:cubicBezTo>
                    <a:pt x="0" y="129388"/>
                    <a:pt x="23253" y="152641"/>
                    <a:pt x="51927" y="152641"/>
                  </a:cubicBez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98" name="Freeform: Shape 497">
              <a:extLst>
                <a:ext uri="{FF2B5EF4-FFF2-40B4-BE49-F238E27FC236}">
                  <a16:creationId xmlns:a16="http://schemas.microsoft.com/office/drawing/2014/main" id="{E54FC1B9-3DC0-9182-5862-4C4BA26D4009}"/>
                </a:ext>
              </a:extLst>
            </p:cNvPr>
            <p:cNvSpPr/>
            <p:nvPr/>
          </p:nvSpPr>
          <p:spPr>
            <a:xfrm>
              <a:off x="7734718" y="3793726"/>
              <a:ext cx="13822" cy="25983"/>
            </a:xfrm>
            <a:custGeom>
              <a:avLst/>
              <a:gdLst>
                <a:gd name="connsiteX0" fmla="*/ 13822 w 13822"/>
                <a:gd name="connsiteY0" fmla="*/ 0 h 25983"/>
                <a:gd name="connsiteX1" fmla="*/ 0 w 13822"/>
                <a:gd name="connsiteY1" fmla="*/ 25983 h 25983"/>
                <a:gd name="connsiteX2" fmla="*/ 13822 w 13822"/>
                <a:gd name="connsiteY2" fmla="*/ 0 h 25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22" h="25983">
                  <a:moveTo>
                    <a:pt x="13822" y="0"/>
                  </a:moveTo>
                  <a:cubicBezTo>
                    <a:pt x="13822" y="10815"/>
                    <a:pt x="8335" y="20351"/>
                    <a:pt x="0" y="25983"/>
                  </a:cubicBezTo>
                  <a:cubicBezTo>
                    <a:pt x="8335" y="20351"/>
                    <a:pt x="13822" y="10815"/>
                    <a:pt x="13822" y="0"/>
                  </a:cubicBez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499" name="Freeform: Shape 498">
              <a:extLst>
                <a:ext uri="{FF2B5EF4-FFF2-40B4-BE49-F238E27FC236}">
                  <a16:creationId xmlns:a16="http://schemas.microsoft.com/office/drawing/2014/main" id="{715BB90D-42B5-DD63-0AD1-4BE24BE73A4A}"/>
                </a:ext>
              </a:extLst>
            </p:cNvPr>
            <p:cNvSpPr/>
            <p:nvPr/>
          </p:nvSpPr>
          <p:spPr>
            <a:xfrm>
              <a:off x="7621101" y="3852508"/>
              <a:ext cx="73827" cy="73827"/>
            </a:xfrm>
            <a:custGeom>
              <a:avLst/>
              <a:gdLst>
                <a:gd name="connsiteX0" fmla="*/ 70685 w 73827"/>
                <a:gd name="connsiteY0" fmla="*/ 51798 h 73827"/>
                <a:gd name="connsiteX1" fmla="*/ 22029 w 73827"/>
                <a:gd name="connsiteY1" fmla="*/ 70685 h 73827"/>
                <a:gd name="connsiteX2" fmla="*/ 3142 w 73827"/>
                <a:gd name="connsiteY2" fmla="*/ 22029 h 73827"/>
                <a:gd name="connsiteX3" fmla="*/ 51798 w 73827"/>
                <a:gd name="connsiteY3" fmla="*/ 3142 h 73827"/>
                <a:gd name="connsiteX4" fmla="*/ 70685 w 73827"/>
                <a:gd name="connsiteY4" fmla="*/ 51798 h 73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27" h="73827">
                  <a:moveTo>
                    <a:pt x="70685" y="51798"/>
                  </a:moveTo>
                  <a:cubicBezTo>
                    <a:pt x="62468" y="70448"/>
                    <a:pt x="40679" y="78902"/>
                    <a:pt x="22029" y="70685"/>
                  </a:cubicBezTo>
                  <a:cubicBezTo>
                    <a:pt x="3380" y="62468"/>
                    <a:pt x="-5075" y="40679"/>
                    <a:pt x="3142" y="22029"/>
                  </a:cubicBezTo>
                  <a:cubicBezTo>
                    <a:pt x="11359" y="3379"/>
                    <a:pt x="33148" y="-5075"/>
                    <a:pt x="51798" y="3142"/>
                  </a:cubicBezTo>
                  <a:cubicBezTo>
                    <a:pt x="70448" y="11359"/>
                    <a:pt x="78902" y="33148"/>
                    <a:pt x="70685" y="51798"/>
                  </a:cubicBez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500" name="Freeform: Shape 499">
              <a:extLst>
                <a:ext uri="{FF2B5EF4-FFF2-40B4-BE49-F238E27FC236}">
                  <a16:creationId xmlns:a16="http://schemas.microsoft.com/office/drawing/2014/main" id="{851F7C28-56B5-FC33-6F7B-B09E720D79FF}"/>
                </a:ext>
              </a:extLst>
            </p:cNvPr>
            <p:cNvSpPr/>
            <p:nvPr/>
          </p:nvSpPr>
          <p:spPr>
            <a:xfrm>
              <a:off x="7598326" y="3863116"/>
              <a:ext cx="18478" cy="8151"/>
            </a:xfrm>
            <a:custGeom>
              <a:avLst/>
              <a:gdLst>
                <a:gd name="connsiteX0" fmla="*/ 0 w 18478"/>
                <a:gd name="connsiteY0" fmla="*/ 0 h 8151"/>
                <a:gd name="connsiteX1" fmla="*/ 18478 w 18478"/>
                <a:gd name="connsiteY1" fmla="*/ 8151 h 8151"/>
                <a:gd name="connsiteX2" fmla="*/ 0 w 18478"/>
                <a:gd name="connsiteY2" fmla="*/ 0 h 8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78" h="8151">
                  <a:moveTo>
                    <a:pt x="0" y="0"/>
                  </a:moveTo>
                  <a:lnTo>
                    <a:pt x="18478" y="815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501" name="Freeform: Shape 500">
              <a:extLst>
                <a:ext uri="{FF2B5EF4-FFF2-40B4-BE49-F238E27FC236}">
                  <a16:creationId xmlns:a16="http://schemas.microsoft.com/office/drawing/2014/main" id="{51A40F4A-6DD9-1306-38E7-0C567B45C419}"/>
                </a:ext>
              </a:extLst>
            </p:cNvPr>
            <p:cNvSpPr/>
            <p:nvPr/>
          </p:nvSpPr>
          <p:spPr>
            <a:xfrm>
              <a:off x="7699211" y="3907577"/>
              <a:ext cx="18478" cy="8150"/>
            </a:xfrm>
            <a:custGeom>
              <a:avLst/>
              <a:gdLst>
                <a:gd name="connsiteX0" fmla="*/ 0 w 18478"/>
                <a:gd name="connsiteY0" fmla="*/ 0 h 8150"/>
                <a:gd name="connsiteX1" fmla="*/ 18479 w 18478"/>
                <a:gd name="connsiteY1" fmla="*/ 8151 h 8150"/>
                <a:gd name="connsiteX2" fmla="*/ 0 w 18478"/>
                <a:gd name="connsiteY2" fmla="*/ 0 h 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78" h="8150">
                  <a:moveTo>
                    <a:pt x="0" y="0"/>
                  </a:moveTo>
                  <a:lnTo>
                    <a:pt x="18479" y="815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502" name="Freeform: Shape 501">
              <a:extLst>
                <a:ext uri="{FF2B5EF4-FFF2-40B4-BE49-F238E27FC236}">
                  <a16:creationId xmlns:a16="http://schemas.microsoft.com/office/drawing/2014/main" id="{34FFDFAB-C0B5-0FB6-DB2F-8016C0CF5D40}"/>
                </a:ext>
              </a:extLst>
            </p:cNvPr>
            <p:cNvSpPr/>
            <p:nvPr/>
          </p:nvSpPr>
          <p:spPr>
            <a:xfrm>
              <a:off x="7597205" y="3905717"/>
              <a:ext cx="18821" cy="7306"/>
            </a:xfrm>
            <a:custGeom>
              <a:avLst/>
              <a:gdLst>
                <a:gd name="connsiteX0" fmla="*/ 0 w 18821"/>
                <a:gd name="connsiteY0" fmla="*/ 7307 h 7306"/>
                <a:gd name="connsiteX1" fmla="*/ 18821 w 18821"/>
                <a:gd name="connsiteY1" fmla="*/ 0 h 7306"/>
                <a:gd name="connsiteX2" fmla="*/ 0 w 18821"/>
                <a:gd name="connsiteY2" fmla="*/ 7307 h 7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821" h="7306">
                  <a:moveTo>
                    <a:pt x="0" y="7307"/>
                  </a:moveTo>
                  <a:lnTo>
                    <a:pt x="18821" y="0"/>
                  </a:lnTo>
                  <a:lnTo>
                    <a:pt x="0" y="7307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503" name="Freeform: Shape 502">
              <a:extLst>
                <a:ext uri="{FF2B5EF4-FFF2-40B4-BE49-F238E27FC236}">
                  <a16:creationId xmlns:a16="http://schemas.microsoft.com/office/drawing/2014/main" id="{BD8878A6-DB1F-A412-2880-496D203C5460}"/>
                </a:ext>
              </a:extLst>
            </p:cNvPr>
            <p:cNvSpPr/>
            <p:nvPr/>
          </p:nvSpPr>
          <p:spPr>
            <a:xfrm>
              <a:off x="7699990" y="3865819"/>
              <a:ext cx="18821" cy="7306"/>
            </a:xfrm>
            <a:custGeom>
              <a:avLst/>
              <a:gdLst>
                <a:gd name="connsiteX0" fmla="*/ 0 w 18821"/>
                <a:gd name="connsiteY0" fmla="*/ 7307 h 7306"/>
                <a:gd name="connsiteX1" fmla="*/ 18821 w 18821"/>
                <a:gd name="connsiteY1" fmla="*/ 0 h 7306"/>
                <a:gd name="connsiteX2" fmla="*/ 0 w 18821"/>
                <a:gd name="connsiteY2" fmla="*/ 7307 h 7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821" h="7306">
                  <a:moveTo>
                    <a:pt x="0" y="7307"/>
                  </a:moveTo>
                  <a:lnTo>
                    <a:pt x="18821" y="0"/>
                  </a:lnTo>
                  <a:lnTo>
                    <a:pt x="0" y="7307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504" name="Freeform: Shape 503">
              <a:extLst>
                <a:ext uri="{FF2B5EF4-FFF2-40B4-BE49-F238E27FC236}">
                  <a16:creationId xmlns:a16="http://schemas.microsoft.com/office/drawing/2014/main" id="{3EBEBE95-1B73-E0AE-5F9B-B8113B2D461A}"/>
                </a:ext>
              </a:extLst>
            </p:cNvPr>
            <p:cNvSpPr/>
            <p:nvPr/>
          </p:nvSpPr>
          <p:spPr>
            <a:xfrm>
              <a:off x="7631708" y="3930619"/>
              <a:ext cx="8137" cy="18478"/>
            </a:xfrm>
            <a:custGeom>
              <a:avLst/>
              <a:gdLst>
                <a:gd name="connsiteX0" fmla="*/ 0 w 8137"/>
                <a:gd name="connsiteY0" fmla="*/ 18478 h 18478"/>
                <a:gd name="connsiteX1" fmla="*/ 8138 w 8137"/>
                <a:gd name="connsiteY1" fmla="*/ 0 h 18478"/>
                <a:gd name="connsiteX2" fmla="*/ 0 w 8137"/>
                <a:gd name="connsiteY2" fmla="*/ 18478 h 1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37" h="18478">
                  <a:moveTo>
                    <a:pt x="0" y="18478"/>
                  </a:moveTo>
                  <a:lnTo>
                    <a:pt x="8138" y="0"/>
                  </a:lnTo>
                  <a:lnTo>
                    <a:pt x="0" y="18478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505" name="Freeform: Shape 504">
              <a:extLst>
                <a:ext uri="{FF2B5EF4-FFF2-40B4-BE49-F238E27FC236}">
                  <a16:creationId xmlns:a16="http://schemas.microsoft.com/office/drawing/2014/main" id="{2F8F3BC9-8565-E568-3B7A-2CBF595CA5ED}"/>
                </a:ext>
              </a:extLst>
            </p:cNvPr>
            <p:cNvSpPr/>
            <p:nvPr/>
          </p:nvSpPr>
          <p:spPr>
            <a:xfrm>
              <a:off x="7676170" y="3829733"/>
              <a:ext cx="8151" cy="18478"/>
            </a:xfrm>
            <a:custGeom>
              <a:avLst/>
              <a:gdLst>
                <a:gd name="connsiteX0" fmla="*/ 0 w 8151"/>
                <a:gd name="connsiteY0" fmla="*/ 18478 h 18478"/>
                <a:gd name="connsiteX1" fmla="*/ 8151 w 8151"/>
                <a:gd name="connsiteY1" fmla="*/ 0 h 18478"/>
                <a:gd name="connsiteX2" fmla="*/ 0 w 8151"/>
                <a:gd name="connsiteY2" fmla="*/ 18478 h 1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51" h="18478">
                  <a:moveTo>
                    <a:pt x="0" y="18478"/>
                  </a:moveTo>
                  <a:lnTo>
                    <a:pt x="8151" y="0"/>
                  </a:lnTo>
                  <a:lnTo>
                    <a:pt x="0" y="18478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506" name="Freeform: Shape 505">
              <a:extLst>
                <a:ext uri="{FF2B5EF4-FFF2-40B4-BE49-F238E27FC236}">
                  <a16:creationId xmlns:a16="http://schemas.microsoft.com/office/drawing/2014/main" id="{A575CA78-BB0B-6B0F-D897-D5536412BAA0}"/>
                </a:ext>
              </a:extLst>
            </p:cNvPr>
            <p:cNvSpPr/>
            <p:nvPr/>
          </p:nvSpPr>
          <p:spPr>
            <a:xfrm>
              <a:off x="7674310" y="3931397"/>
              <a:ext cx="7306" cy="18821"/>
            </a:xfrm>
            <a:custGeom>
              <a:avLst/>
              <a:gdLst>
                <a:gd name="connsiteX0" fmla="*/ 7307 w 7306"/>
                <a:gd name="connsiteY0" fmla="*/ 18821 h 18821"/>
                <a:gd name="connsiteX1" fmla="*/ 0 w 7306"/>
                <a:gd name="connsiteY1" fmla="*/ 0 h 18821"/>
                <a:gd name="connsiteX2" fmla="*/ 7307 w 7306"/>
                <a:gd name="connsiteY2" fmla="*/ 18821 h 18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06" h="18821">
                  <a:moveTo>
                    <a:pt x="7307" y="18821"/>
                  </a:moveTo>
                  <a:lnTo>
                    <a:pt x="0" y="0"/>
                  </a:lnTo>
                  <a:lnTo>
                    <a:pt x="7307" y="18821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507" name="Freeform: Shape 506">
              <a:extLst>
                <a:ext uri="{FF2B5EF4-FFF2-40B4-BE49-F238E27FC236}">
                  <a16:creationId xmlns:a16="http://schemas.microsoft.com/office/drawing/2014/main" id="{71C2FF2A-A704-BD07-7A55-B7DFE2AD7B1D}"/>
                </a:ext>
              </a:extLst>
            </p:cNvPr>
            <p:cNvSpPr/>
            <p:nvPr/>
          </p:nvSpPr>
          <p:spPr>
            <a:xfrm>
              <a:off x="7634412" y="3828625"/>
              <a:ext cx="7306" cy="18821"/>
            </a:xfrm>
            <a:custGeom>
              <a:avLst/>
              <a:gdLst>
                <a:gd name="connsiteX0" fmla="*/ 7307 w 7306"/>
                <a:gd name="connsiteY0" fmla="*/ 18821 h 18821"/>
                <a:gd name="connsiteX1" fmla="*/ 0 w 7306"/>
                <a:gd name="connsiteY1" fmla="*/ 0 h 18821"/>
                <a:gd name="connsiteX2" fmla="*/ 7307 w 7306"/>
                <a:gd name="connsiteY2" fmla="*/ 18821 h 18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06" h="18821">
                  <a:moveTo>
                    <a:pt x="7307" y="18821"/>
                  </a:moveTo>
                  <a:lnTo>
                    <a:pt x="0" y="0"/>
                  </a:lnTo>
                  <a:lnTo>
                    <a:pt x="7307" y="18821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508" name="Freeform: Shape 507">
              <a:extLst>
                <a:ext uri="{FF2B5EF4-FFF2-40B4-BE49-F238E27FC236}">
                  <a16:creationId xmlns:a16="http://schemas.microsoft.com/office/drawing/2014/main" id="{AEF7CF53-DB99-C63F-B840-1EB303AD3CBF}"/>
                </a:ext>
              </a:extLst>
            </p:cNvPr>
            <p:cNvSpPr/>
            <p:nvPr/>
          </p:nvSpPr>
          <p:spPr>
            <a:xfrm>
              <a:off x="7542060" y="3965188"/>
              <a:ext cx="59787" cy="59788"/>
            </a:xfrm>
            <a:custGeom>
              <a:avLst/>
              <a:gdLst>
                <a:gd name="connsiteX0" fmla="*/ 54789 w 59787"/>
                <a:gd name="connsiteY0" fmla="*/ 46427 h 59788"/>
                <a:gd name="connsiteX1" fmla="*/ 13361 w 59787"/>
                <a:gd name="connsiteY1" fmla="*/ 54789 h 59788"/>
                <a:gd name="connsiteX2" fmla="*/ 4999 w 59787"/>
                <a:gd name="connsiteY2" fmla="*/ 13361 h 59788"/>
                <a:gd name="connsiteX3" fmla="*/ 46427 w 59787"/>
                <a:gd name="connsiteY3" fmla="*/ 4999 h 59788"/>
                <a:gd name="connsiteX4" fmla="*/ 54789 w 59787"/>
                <a:gd name="connsiteY4" fmla="*/ 46427 h 59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87" h="59788">
                  <a:moveTo>
                    <a:pt x="54789" y="46427"/>
                  </a:moveTo>
                  <a:cubicBezTo>
                    <a:pt x="45662" y="60183"/>
                    <a:pt x="27105" y="63929"/>
                    <a:pt x="13361" y="54789"/>
                  </a:cubicBezTo>
                  <a:cubicBezTo>
                    <a:pt x="-395" y="45662"/>
                    <a:pt x="-4141" y="27105"/>
                    <a:pt x="4999" y="13361"/>
                  </a:cubicBezTo>
                  <a:cubicBezTo>
                    <a:pt x="14126" y="-395"/>
                    <a:pt x="32684" y="-4141"/>
                    <a:pt x="46427" y="4999"/>
                  </a:cubicBezTo>
                  <a:cubicBezTo>
                    <a:pt x="60183" y="14126"/>
                    <a:pt x="63929" y="32684"/>
                    <a:pt x="54789" y="46427"/>
                  </a:cubicBez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509" name="Freeform: Shape 508">
              <a:extLst>
                <a:ext uri="{FF2B5EF4-FFF2-40B4-BE49-F238E27FC236}">
                  <a16:creationId xmlns:a16="http://schemas.microsoft.com/office/drawing/2014/main" id="{AE5177F1-D0C8-7003-E7F3-A2CA3E9255F2}"/>
                </a:ext>
              </a:extLst>
            </p:cNvPr>
            <p:cNvSpPr/>
            <p:nvPr/>
          </p:nvSpPr>
          <p:spPr>
            <a:xfrm>
              <a:off x="7527947" y="3965861"/>
              <a:ext cx="13624" cy="9047"/>
            </a:xfrm>
            <a:custGeom>
              <a:avLst/>
              <a:gdLst>
                <a:gd name="connsiteX0" fmla="*/ 0 w 13624"/>
                <a:gd name="connsiteY0" fmla="*/ 0 h 9047"/>
                <a:gd name="connsiteX1" fmla="*/ 13624 w 13624"/>
                <a:gd name="connsiteY1" fmla="*/ 9048 h 9047"/>
                <a:gd name="connsiteX2" fmla="*/ 0 w 13624"/>
                <a:gd name="connsiteY2" fmla="*/ 0 h 9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624" h="9047">
                  <a:moveTo>
                    <a:pt x="0" y="0"/>
                  </a:moveTo>
                  <a:lnTo>
                    <a:pt x="13624" y="904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510" name="Freeform: Shape 509">
              <a:extLst>
                <a:ext uri="{FF2B5EF4-FFF2-40B4-BE49-F238E27FC236}">
                  <a16:creationId xmlns:a16="http://schemas.microsoft.com/office/drawing/2014/main" id="{B010DFF6-A82D-18D5-3922-A120BA59CC35}"/>
                </a:ext>
              </a:extLst>
            </p:cNvPr>
            <p:cNvSpPr/>
            <p:nvPr/>
          </p:nvSpPr>
          <p:spPr>
            <a:xfrm>
              <a:off x="7602336" y="4015255"/>
              <a:ext cx="13624" cy="9048"/>
            </a:xfrm>
            <a:custGeom>
              <a:avLst/>
              <a:gdLst>
                <a:gd name="connsiteX0" fmla="*/ 0 w 13624"/>
                <a:gd name="connsiteY0" fmla="*/ 0 h 9048"/>
                <a:gd name="connsiteX1" fmla="*/ 13625 w 13624"/>
                <a:gd name="connsiteY1" fmla="*/ 9048 h 9048"/>
                <a:gd name="connsiteX2" fmla="*/ 0 w 13624"/>
                <a:gd name="connsiteY2" fmla="*/ 0 h 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624" h="9048">
                  <a:moveTo>
                    <a:pt x="0" y="0"/>
                  </a:moveTo>
                  <a:lnTo>
                    <a:pt x="13625" y="904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511" name="Freeform: Shape 510">
              <a:extLst>
                <a:ext uri="{FF2B5EF4-FFF2-40B4-BE49-F238E27FC236}">
                  <a16:creationId xmlns:a16="http://schemas.microsoft.com/office/drawing/2014/main" id="{1D36A830-ED83-C888-CB76-AA304B52D7FC}"/>
                </a:ext>
              </a:extLst>
            </p:cNvPr>
            <p:cNvSpPr/>
            <p:nvPr/>
          </p:nvSpPr>
          <p:spPr>
            <a:xfrm>
              <a:off x="7520179" y="4002303"/>
              <a:ext cx="16025" cy="3231"/>
            </a:xfrm>
            <a:custGeom>
              <a:avLst/>
              <a:gdLst>
                <a:gd name="connsiteX0" fmla="*/ 0 w 16025"/>
                <a:gd name="connsiteY0" fmla="*/ 3232 h 3231"/>
                <a:gd name="connsiteX1" fmla="*/ 16025 w 16025"/>
                <a:gd name="connsiteY1" fmla="*/ 0 h 3231"/>
                <a:gd name="connsiteX2" fmla="*/ 0 w 16025"/>
                <a:gd name="connsiteY2" fmla="*/ 3232 h 3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025" h="3231">
                  <a:moveTo>
                    <a:pt x="0" y="3232"/>
                  </a:moveTo>
                  <a:lnTo>
                    <a:pt x="16025" y="0"/>
                  </a:lnTo>
                  <a:lnTo>
                    <a:pt x="0" y="3232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512" name="Freeform: Shape 511">
              <a:extLst>
                <a:ext uri="{FF2B5EF4-FFF2-40B4-BE49-F238E27FC236}">
                  <a16:creationId xmlns:a16="http://schemas.microsoft.com/office/drawing/2014/main" id="{89DA002B-6359-BF7D-B504-C74C9A3E0183}"/>
                </a:ext>
              </a:extLst>
            </p:cNvPr>
            <p:cNvSpPr/>
            <p:nvPr/>
          </p:nvSpPr>
          <p:spPr>
            <a:xfrm>
              <a:off x="7607703" y="3984630"/>
              <a:ext cx="16025" cy="3231"/>
            </a:xfrm>
            <a:custGeom>
              <a:avLst/>
              <a:gdLst>
                <a:gd name="connsiteX0" fmla="*/ 0 w 16025"/>
                <a:gd name="connsiteY0" fmla="*/ 3231 h 3231"/>
                <a:gd name="connsiteX1" fmla="*/ 16025 w 16025"/>
                <a:gd name="connsiteY1" fmla="*/ 0 h 3231"/>
                <a:gd name="connsiteX2" fmla="*/ 0 w 16025"/>
                <a:gd name="connsiteY2" fmla="*/ 3231 h 3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025" h="3231">
                  <a:moveTo>
                    <a:pt x="0" y="3231"/>
                  </a:moveTo>
                  <a:lnTo>
                    <a:pt x="16025" y="0"/>
                  </a:lnTo>
                  <a:lnTo>
                    <a:pt x="0" y="3231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513" name="Freeform: Shape 512">
              <a:extLst>
                <a:ext uri="{FF2B5EF4-FFF2-40B4-BE49-F238E27FC236}">
                  <a16:creationId xmlns:a16="http://schemas.microsoft.com/office/drawing/2014/main" id="{D72C58D1-517B-4DE9-FDEC-BA148D5BDB2D}"/>
                </a:ext>
              </a:extLst>
            </p:cNvPr>
            <p:cNvSpPr/>
            <p:nvPr/>
          </p:nvSpPr>
          <p:spPr>
            <a:xfrm>
              <a:off x="7542733" y="4025464"/>
              <a:ext cx="9047" cy="13624"/>
            </a:xfrm>
            <a:custGeom>
              <a:avLst/>
              <a:gdLst>
                <a:gd name="connsiteX0" fmla="*/ 0 w 9047"/>
                <a:gd name="connsiteY0" fmla="*/ 13625 h 13624"/>
                <a:gd name="connsiteX1" fmla="*/ 9048 w 9047"/>
                <a:gd name="connsiteY1" fmla="*/ 0 h 13624"/>
                <a:gd name="connsiteX2" fmla="*/ 0 w 9047"/>
                <a:gd name="connsiteY2" fmla="*/ 13625 h 13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047" h="13624">
                  <a:moveTo>
                    <a:pt x="0" y="13625"/>
                  </a:moveTo>
                  <a:lnTo>
                    <a:pt x="9048" y="0"/>
                  </a:lnTo>
                  <a:lnTo>
                    <a:pt x="0" y="13625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514" name="Freeform: Shape 513">
              <a:extLst>
                <a:ext uri="{FF2B5EF4-FFF2-40B4-BE49-F238E27FC236}">
                  <a16:creationId xmlns:a16="http://schemas.microsoft.com/office/drawing/2014/main" id="{4070B0DC-AA66-0D80-92D7-42E76CE995B7}"/>
                </a:ext>
              </a:extLst>
            </p:cNvPr>
            <p:cNvSpPr/>
            <p:nvPr/>
          </p:nvSpPr>
          <p:spPr>
            <a:xfrm>
              <a:off x="7592127" y="3951076"/>
              <a:ext cx="9048" cy="13624"/>
            </a:xfrm>
            <a:custGeom>
              <a:avLst/>
              <a:gdLst>
                <a:gd name="connsiteX0" fmla="*/ 0 w 9048"/>
                <a:gd name="connsiteY0" fmla="*/ 13624 h 13624"/>
                <a:gd name="connsiteX1" fmla="*/ 9048 w 9048"/>
                <a:gd name="connsiteY1" fmla="*/ 0 h 13624"/>
                <a:gd name="connsiteX2" fmla="*/ 0 w 9048"/>
                <a:gd name="connsiteY2" fmla="*/ 13624 h 13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048" h="13624">
                  <a:moveTo>
                    <a:pt x="0" y="13624"/>
                  </a:moveTo>
                  <a:lnTo>
                    <a:pt x="9048" y="0"/>
                  </a:lnTo>
                  <a:lnTo>
                    <a:pt x="0" y="13624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515" name="Freeform: Shape 514">
              <a:extLst>
                <a:ext uri="{FF2B5EF4-FFF2-40B4-BE49-F238E27FC236}">
                  <a16:creationId xmlns:a16="http://schemas.microsoft.com/office/drawing/2014/main" id="{41419FE8-6995-4D85-146F-0F6E11CF857E}"/>
                </a:ext>
              </a:extLst>
            </p:cNvPr>
            <p:cNvSpPr/>
            <p:nvPr/>
          </p:nvSpPr>
          <p:spPr>
            <a:xfrm>
              <a:off x="7579175" y="4030832"/>
              <a:ext cx="3231" cy="16025"/>
            </a:xfrm>
            <a:custGeom>
              <a:avLst/>
              <a:gdLst>
                <a:gd name="connsiteX0" fmla="*/ 3232 w 3231"/>
                <a:gd name="connsiteY0" fmla="*/ 16025 h 16025"/>
                <a:gd name="connsiteX1" fmla="*/ 0 w 3231"/>
                <a:gd name="connsiteY1" fmla="*/ 0 h 16025"/>
                <a:gd name="connsiteX2" fmla="*/ 3232 w 3231"/>
                <a:gd name="connsiteY2" fmla="*/ 16025 h 16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31" h="16025">
                  <a:moveTo>
                    <a:pt x="3232" y="16025"/>
                  </a:moveTo>
                  <a:lnTo>
                    <a:pt x="0" y="0"/>
                  </a:lnTo>
                  <a:lnTo>
                    <a:pt x="3232" y="16025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  <p:sp>
          <p:nvSpPr>
            <p:cNvPr id="516" name="Freeform: Shape 515">
              <a:extLst>
                <a:ext uri="{FF2B5EF4-FFF2-40B4-BE49-F238E27FC236}">
                  <a16:creationId xmlns:a16="http://schemas.microsoft.com/office/drawing/2014/main" id="{E0A1862F-4DAD-56B4-2228-2F8EA4EF7674}"/>
                </a:ext>
              </a:extLst>
            </p:cNvPr>
            <p:cNvSpPr/>
            <p:nvPr/>
          </p:nvSpPr>
          <p:spPr>
            <a:xfrm>
              <a:off x="7561501" y="3943307"/>
              <a:ext cx="3231" cy="16025"/>
            </a:xfrm>
            <a:custGeom>
              <a:avLst/>
              <a:gdLst>
                <a:gd name="connsiteX0" fmla="*/ 3231 w 3231"/>
                <a:gd name="connsiteY0" fmla="*/ 16025 h 16025"/>
                <a:gd name="connsiteX1" fmla="*/ 0 w 3231"/>
                <a:gd name="connsiteY1" fmla="*/ 0 h 16025"/>
                <a:gd name="connsiteX2" fmla="*/ 3231 w 3231"/>
                <a:gd name="connsiteY2" fmla="*/ 16025 h 16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31" h="16025">
                  <a:moveTo>
                    <a:pt x="3231" y="16025"/>
                  </a:moveTo>
                  <a:lnTo>
                    <a:pt x="0" y="0"/>
                  </a:lnTo>
                  <a:lnTo>
                    <a:pt x="3231" y="16025"/>
                  </a:lnTo>
                  <a:close/>
                </a:path>
              </a:pathLst>
            </a:custGeom>
            <a:noFill/>
            <a:ln w="11865" cap="flat">
              <a:solidFill>
                <a:schemeClr val="tx2">
                  <a:lumMod val="65000"/>
                  <a:lumOff val="35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>
                <a:solidFill>
                  <a:schemeClr val="tx2"/>
                </a:solidFill>
                <a:latin typeface="Source Sans Pro Light" panose="020B0403030403020204" pitchFamily="34" charset="0"/>
              </a:endParaRPr>
            </a:p>
          </p:txBody>
        </p:sp>
      </p:grpSp>
      <p:sp>
        <p:nvSpPr>
          <p:cNvPr id="517" name="object 2">
            <a:extLst>
              <a:ext uri="{FF2B5EF4-FFF2-40B4-BE49-F238E27FC236}">
                <a16:creationId xmlns:a16="http://schemas.microsoft.com/office/drawing/2014/main" id="{DED730B1-36DF-DD6A-0FBC-6F4FBEEF622C}"/>
              </a:ext>
            </a:extLst>
          </p:cNvPr>
          <p:cNvSpPr txBox="1"/>
          <p:nvPr/>
        </p:nvSpPr>
        <p:spPr>
          <a:xfrm>
            <a:off x="8013954" y="5684868"/>
            <a:ext cx="2743200" cy="430887"/>
          </a:xfrm>
          <a:prstGeom prst="rect">
            <a:avLst/>
          </a:prstGeom>
          <a:noFill/>
        </p:spPr>
        <p:txBody>
          <a:bodyPr wrap="square" lIns="0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1200" spc="100">
                <a:ln w="3175">
                  <a:noFill/>
                </a:ln>
                <a:gradFill flip="none" rotWithShape="1">
                  <a:gsLst>
                    <a:gs pos="0">
                      <a:srgbClr val="8661C5"/>
                    </a:gs>
                    <a:gs pos="80000">
                      <a:srgbClr val="0078D4"/>
                    </a:gs>
                  </a:gsLst>
                  <a:lin ang="2700000" scaled="1"/>
                  <a:tileRect/>
                </a:gradFill>
                <a:latin typeface="Aptos" panose="020B0004020202020204" pitchFamily="34" charset="0"/>
                <a:ea typeface="Roboto" panose="02000000000000000000" pitchFamily="2" charset="0"/>
                <a:cs typeface="Segoe UI Semibold"/>
              </a:defRPr>
            </a:lvl1pPr>
          </a:lstStyle>
          <a:p>
            <a:r>
              <a:rPr lang="en-US" sz="1100" dirty="0"/>
              <a:t>Embedded Industry-standard Partners’ Products</a:t>
            </a:r>
            <a:endParaRPr sz="1100" dirty="0"/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40EFC9B-F9A5-2AC8-8E63-2086BAAD0F59}"/>
              </a:ext>
            </a:extLst>
          </p:cNvPr>
          <p:cNvCxnSpPr>
            <a:cxnSpLocks/>
          </p:cNvCxnSpPr>
          <p:nvPr/>
        </p:nvCxnSpPr>
        <p:spPr>
          <a:xfrm>
            <a:off x="3458719" y="5189316"/>
            <a:ext cx="0" cy="365760"/>
          </a:xfrm>
          <a:prstGeom prst="line">
            <a:avLst/>
          </a:prstGeom>
          <a:solidFill>
            <a:schemeClr val="accent3">
              <a:lumMod val="60000"/>
              <a:lumOff val="40000"/>
            </a:schemeClr>
          </a:solidFill>
          <a:ln w="38100" cap="flat">
            <a:solidFill>
              <a:srgbClr val="32ADFF"/>
            </a:solidFill>
            <a:prstDash val="solid"/>
            <a:miter/>
          </a:ln>
        </p:spPr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7354A33-4427-745F-C740-E4E31D82ED79}"/>
              </a:ext>
            </a:extLst>
          </p:cNvPr>
          <p:cNvCxnSpPr>
            <a:cxnSpLocks/>
          </p:cNvCxnSpPr>
          <p:nvPr/>
        </p:nvCxnSpPr>
        <p:spPr>
          <a:xfrm>
            <a:off x="3458719" y="5732820"/>
            <a:ext cx="0" cy="365760"/>
          </a:xfrm>
          <a:prstGeom prst="line">
            <a:avLst/>
          </a:prstGeom>
          <a:solidFill>
            <a:schemeClr val="accent3">
              <a:lumMod val="60000"/>
              <a:lumOff val="40000"/>
            </a:schemeClr>
          </a:solidFill>
          <a:ln w="38100" cap="flat">
            <a:solidFill>
              <a:srgbClr val="2D67FF"/>
            </a:solidFill>
            <a:prstDash val="solid"/>
            <a:miter/>
          </a:ln>
        </p:spPr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25735E5-83F5-47D8-C96F-DD294D4BBE09}"/>
              </a:ext>
            </a:extLst>
          </p:cNvPr>
          <p:cNvCxnSpPr>
            <a:cxnSpLocks/>
          </p:cNvCxnSpPr>
          <p:nvPr/>
        </p:nvCxnSpPr>
        <p:spPr>
          <a:xfrm>
            <a:off x="7846474" y="5189316"/>
            <a:ext cx="0" cy="365760"/>
          </a:xfrm>
          <a:prstGeom prst="line">
            <a:avLst/>
          </a:prstGeom>
          <a:solidFill>
            <a:schemeClr val="accent3">
              <a:lumMod val="60000"/>
              <a:lumOff val="40000"/>
            </a:schemeClr>
          </a:solidFill>
          <a:ln w="38100" cap="flat">
            <a:solidFill>
              <a:srgbClr val="32ADFF"/>
            </a:solidFill>
            <a:prstDash val="solid"/>
            <a:miter/>
          </a:ln>
        </p:spPr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5E3F123-2B06-E476-0B58-713553844F02}"/>
              </a:ext>
            </a:extLst>
          </p:cNvPr>
          <p:cNvCxnSpPr>
            <a:cxnSpLocks/>
          </p:cNvCxnSpPr>
          <p:nvPr/>
        </p:nvCxnSpPr>
        <p:spPr>
          <a:xfrm>
            <a:off x="7846474" y="5732820"/>
            <a:ext cx="0" cy="365760"/>
          </a:xfrm>
          <a:prstGeom prst="line">
            <a:avLst/>
          </a:prstGeom>
          <a:solidFill>
            <a:schemeClr val="accent3">
              <a:lumMod val="60000"/>
              <a:lumOff val="40000"/>
            </a:schemeClr>
          </a:solidFill>
          <a:ln w="38100" cap="flat">
            <a:solidFill>
              <a:srgbClr val="2D67FF"/>
            </a:solidFill>
            <a:prstDash val="solid"/>
            <a:miter/>
          </a:ln>
        </p:spPr>
      </p:cxnSp>
      <p:sp>
        <p:nvSpPr>
          <p:cNvPr id="38" name="Google Shape;606;p2">
            <a:extLst>
              <a:ext uri="{FF2B5EF4-FFF2-40B4-BE49-F238E27FC236}">
                <a16:creationId xmlns:a16="http://schemas.microsoft.com/office/drawing/2014/main" id="{898E50C0-96BA-7BCA-FAF6-D2A2113745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35965" y="4838605"/>
            <a:ext cx="4572000" cy="182880"/>
          </a:xfrm>
          <a:prstGeom prst="triangle">
            <a:avLst>
              <a:gd name="adj" fmla="val 50000"/>
            </a:avLst>
          </a:prstGeom>
          <a:solidFill>
            <a:srgbClr val="E6EDF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932472" fontAlgn="base">
              <a:spcBef>
                <a:spcPct val="0"/>
              </a:spcBef>
              <a:spcAft>
                <a:spcPct val="0"/>
              </a:spcAft>
            </a:pPr>
            <a:endParaRPr lang="en-US" spc="400">
              <a:ln w="3175">
                <a:noFill/>
              </a:ln>
              <a:gradFill flip="none" rotWithShape="1">
                <a:gsLst>
                  <a:gs pos="0">
                    <a:srgbClr val="8661C5"/>
                  </a:gs>
                  <a:gs pos="80000">
                    <a:srgbClr val="0078D4"/>
                  </a:gs>
                </a:gsLst>
                <a:lin ang="2700000" scaled="1"/>
                <a:tileRect/>
              </a:gradFill>
              <a:latin typeface="Aptos SemiBold" panose="020B0004020202020204" pitchFamily="34" charset="0"/>
              <a:ea typeface="+mj-lt"/>
              <a:cs typeface="Segoe UI Semibold"/>
              <a:sym typeface="Arial"/>
            </a:endParaRPr>
          </a:p>
        </p:txBody>
      </p:sp>
      <p:pic>
        <p:nvPicPr>
          <p:cNvPr id="1026" name="Picture 2" descr="SonarSource | Investment | Insight Partners">
            <a:extLst>
              <a:ext uri="{FF2B5EF4-FFF2-40B4-BE49-F238E27FC236}">
                <a16:creationId xmlns:a16="http://schemas.microsoft.com/office/drawing/2014/main" id="{AE71F19A-F37B-F29F-4C0A-30A4083DF1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5384" y="4576791"/>
            <a:ext cx="548640" cy="136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What is GitHub.. GitHub is a platform for online… | by Sameer Hussain |  Medium">
            <a:extLst>
              <a:ext uri="{FF2B5EF4-FFF2-40B4-BE49-F238E27FC236}">
                <a16:creationId xmlns:a16="http://schemas.microsoft.com/office/drawing/2014/main" id="{69302063-A7AE-DA1E-1C1B-B8890339DF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5855" y="4526438"/>
            <a:ext cx="640080" cy="237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Opsera | HashiCorp Tech Partner">
            <a:extLst>
              <a:ext uri="{FF2B5EF4-FFF2-40B4-BE49-F238E27FC236}">
                <a16:creationId xmlns:a16="http://schemas.microsoft.com/office/drawing/2014/main" id="{DE027975-F635-0293-7797-4D0231569A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1978" y="4496156"/>
            <a:ext cx="914400" cy="297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GitHub Copilot - Visual Studio Marketplace">
            <a:extLst>
              <a:ext uri="{FF2B5EF4-FFF2-40B4-BE49-F238E27FC236}">
                <a16:creationId xmlns:a16="http://schemas.microsoft.com/office/drawing/2014/main" id="{46802943-FCDF-2951-92C2-A3D2569142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1224" y="4530766"/>
            <a:ext cx="2286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30C26DA0-4AE6-7E5C-D538-1C45265609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5244" y="4567897"/>
            <a:ext cx="365760" cy="15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C9E4C377-BC6D-60AA-AD0B-F41797810118}"/>
              </a:ext>
            </a:extLst>
          </p:cNvPr>
          <p:cNvSpPr txBox="1"/>
          <p:nvPr/>
        </p:nvSpPr>
        <p:spPr>
          <a:xfrm>
            <a:off x="2344025" y="1627782"/>
            <a:ext cx="8779424" cy="486928"/>
          </a:xfrm>
          <a:prstGeom prst="rect">
            <a:avLst/>
          </a:prstGeom>
          <a:noFill/>
        </p:spPr>
        <p:txBody>
          <a:bodyPr wrap="square" lIns="0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1200" spc="100">
                <a:ln w="3175">
                  <a:noFill/>
                </a:ln>
                <a:gradFill flip="none" rotWithShape="1">
                  <a:gsLst>
                    <a:gs pos="0">
                      <a:srgbClr val="8661C5"/>
                    </a:gs>
                    <a:gs pos="80000">
                      <a:srgbClr val="0078D4"/>
                    </a:gs>
                  </a:gsLst>
                  <a:lin ang="2700000" scaled="1"/>
                  <a:tileRect/>
                </a:gradFill>
                <a:latin typeface="Aptos" panose="020B0004020202020204" pitchFamily="34" charset="0"/>
                <a:ea typeface="Roboto" panose="02000000000000000000" pitchFamily="2" charset="0"/>
                <a:cs typeface="Segoe UI Semibold"/>
              </a:defRPr>
            </a:lvl1pPr>
          </a:lstStyle>
          <a:p>
            <a:pPr algn="ctr">
              <a:lnSpc>
                <a:spcPts val="1600"/>
              </a:lnSpc>
            </a:pPr>
            <a:r>
              <a:rPr lang="en-US" sz="1100" spc="60" dirty="0"/>
              <a:t>End-to-end Requirements to Code Transformation  |  Self-healing Development Process  |  Comprehensive Quality Assurance Automation  |  Documentation-as-Code  |  Enterprise Architecture Governance  |  Streamlined Workflows in SDLC     </a:t>
            </a:r>
            <a:endParaRPr lang="en-IN" sz="1100" spc="60" dirty="0"/>
          </a:p>
        </p:txBody>
      </p:sp>
      <p:sp>
        <p:nvSpPr>
          <p:cNvPr id="42" name="Google Shape;606;p2">
            <a:extLst>
              <a:ext uri="{FF2B5EF4-FFF2-40B4-BE49-F238E27FC236}">
                <a16:creationId xmlns:a16="http://schemas.microsoft.com/office/drawing/2014/main" id="{DF00DCE7-F1FD-0CAF-68ED-F78ACC60FB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V="1">
            <a:off x="4335965" y="2213686"/>
            <a:ext cx="4572000" cy="182880"/>
          </a:xfrm>
          <a:prstGeom prst="triangle">
            <a:avLst>
              <a:gd name="adj" fmla="val 50000"/>
            </a:avLst>
          </a:prstGeom>
          <a:solidFill>
            <a:srgbClr val="E6EDF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932472" fontAlgn="base">
              <a:spcBef>
                <a:spcPct val="0"/>
              </a:spcBef>
              <a:spcAft>
                <a:spcPct val="0"/>
              </a:spcAft>
            </a:pPr>
            <a:endParaRPr lang="en-US" spc="400">
              <a:ln w="3175">
                <a:noFill/>
              </a:ln>
              <a:gradFill flip="none" rotWithShape="1">
                <a:gsLst>
                  <a:gs pos="0">
                    <a:srgbClr val="8661C5"/>
                  </a:gs>
                  <a:gs pos="80000">
                    <a:srgbClr val="0078D4"/>
                  </a:gs>
                </a:gsLst>
                <a:lin ang="2700000" scaled="1"/>
                <a:tileRect/>
              </a:gradFill>
              <a:latin typeface="Aptos SemiBold" panose="020B0004020202020204" pitchFamily="34" charset="0"/>
              <a:ea typeface="+mj-lt"/>
              <a:cs typeface="Segoe UI Semibold"/>
              <a:sym typeface="Arial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4DD06FEC-A5D6-E23A-684E-4E6BC400A52D}"/>
              </a:ext>
            </a:extLst>
          </p:cNvPr>
          <p:cNvSpPr/>
          <p:nvPr/>
        </p:nvSpPr>
        <p:spPr>
          <a:xfrm>
            <a:off x="7294938" y="4920851"/>
            <a:ext cx="548640" cy="548640"/>
          </a:xfrm>
          <a:prstGeom prst="ellipse">
            <a:avLst/>
          </a:prstGeom>
          <a:solidFill>
            <a:srgbClr val="FFCC29">
              <a:alpha val="70000"/>
            </a:srgbClr>
          </a:solidFill>
          <a:ln>
            <a:noFill/>
          </a:ln>
          <a:effectLst>
            <a:softEdge rad="16510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0723F830-974B-08C0-28B5-7EA9F7544DC3}"/>
              </a:ext>
            </a:extLst>
          </p:cNvPr>
          <p:cNvSpPr/>
          <p:nvPr/>
        </p:nvSpPr>
        <p:spPr>
          <a:xfrm>
            <a:off x="2856218" y="5539832"/>
            <a:ext cx="548640" cy="548640"/>
          </a:xfrm>
          <a:prstGeom prst="ellipse">
            <a:avLst/>
          </a:prstGeom>
          <a:solidFill>
            <a:srgbClr val="FFCC29">
              <a:alpha val="70000"/>
            </a:srgbClr>
          </a:solidFill>
          <a:ln>
            <a:noFill/>
          </a:ln>
          <a:effectLst>
            <a:softEdge rad="16510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EC130A9B-328C-415A-5CD1-0A04EE5C0AEE}"/>
              </a:ext>
            </a:extLst>
          </p:cNvPr>
          <p:cNvSpPr/>
          <p:nvPr/>
        </p:nvSpPr>
        <p:spPr>
          <a:xfrm>
            <a:off x="7294938" y="5539832"/>
            <a:ext cx="548640" cy="548640"/>
          </a:xfrm>
          <a:prstGeom prst="ellipse">
            <a:avLst/>
          </a:prstGeom>
          <a:solidFill>
            <a:srgbClr val="FFCC29">
              <a:alpha val="70000"/>
            </a:srgbClr>
          </a:solidFill>
          <a:ln>
            <a:noFill/>
          </a:ln>
          <a:effectLst>
            <a:softEdge rad="16510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7" name="Rectangle: Single Corner Rounded 46">
            <a:extLst>
              <a:ext uri="{FF2B5EF4-FFF2-40B4-BE49-F238E27FC236}">
                <a16:creationId xmlns:a16="http://schemas.microsoft.com/office/drawing/2014/main" id="{F03CE195-F563-5089-8750-849212BB029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6200000" flipV="1">
            <a:off x="862309" y="773775"/>
            <a:ext cx="182880" cy="1554480"/>
          </a:xfrm>
          <a:prstGeom prst="round1Rect">
            <a:avLst/>
          </a:prstGeom>
          <a:solidFill>
            <a:srgbClr val="E6ED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vert270" rtlCol="0" anchor="ctr"/>
          <a:lstStyle/>
          <a:p>
            <a:pPr marL="91440" algn="r" defTabSz="829544"/>
            <a:r>
              <a:rPr lang="en-US" sz="800" kern="0" spc="100" dirty="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Guiding Principles</a:t>
            </a:r>
          </a:p>
        </p:txBody>
      </p:sp>
      <p:sp>
        <p:nvSpPr>
          <p:cNvPr id="48" name="Rectangle: Single Corner Rounded 47">
            <a:extLst>
              <a:ext uri="{FF2B5EF4-FFF2-40B4-BE49-F238E27FC236}">
                <a16:creationId xmlns:a16="http://schemas.microsoft.com/office/drawing/2014/main" id="{BCF90B6D-F278-ED1A-1860-33AED9C552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6200000" flipV="1">
            <a:off x="862309" y="1614717"/>
            <a:ext cx="182880" cy="1554480"/>
          </a:xfrm>
          <a:prstGeom prst="round1Rect">
            <a:avLst/>
          </a:prstGeom>
          <a:solidFill>
            <a:srgbClr val="E6ED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vert270" rtlCol="0" anchor="ctr"/>
          <a:lstStyle/>
          <a:p>
            <a:pPr marL="91440" algn="r" defTabSz="829544"/>
            <a:r>
              <a:rPr lang="en-US" sz="800" kern="0" spc="100" dirty="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Use Cases Enabled</a:t>
            </a:r>
          </a:p>
        </p:txBody>
      </p:sp>
      <p:sp>
        <p:nvSpPr>
          <p:cNvPr id="49" name="Rectangle: Single Corner Rounded 48">
            <a:extLst>
              <a:ext uri="{FF2B5EF4-FFF2-40B4-BE49-F238E27FC236}">
                <a16:creationId xmlns:a16="http://schemas.microsoft.com/office/drawing/2014/main" id="{AEEE1F7E-2D4F-0BAD-0DCA-AFD64766B40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 flipV="1">
            <a:off x="845791" y="4634167"/>
            <a:ext cx="182880" cy="1554480"/>
          </a:xfrm>
          <a:prstGeom prst="round1Rect">
            <a:avLst/>
          </a:prstGeom>
          <a:solidFill>
            <a:srgbClr val="E6ED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vert270" rtlCol="0" anchor="ctr"/>
          <a:lstStyle/>
          <a:p>
            <a:pPr marL="91440" algn="r" defTabSz="829544"/>
            <a:r>
              <a:rPr lang="en-US" sz="800" kern="0" spc="100" dirty="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Foundational Tenet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3C491381-1431-7512-C17A-62DCD5BECFF9}"/>
              </a:ext>
            </a:extLst>
          </p:cNvPr>
          <p:cNvSpPr txBox="1"/>
          <p:nvPr/>
        </p:nvSpPr>
        <p:spPr>
          <a:xfrm>
            <a:off x="10486092" y="4307682"/>
            <a:ext cx="1684529" cy="3366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2880" marR="5080" indent="-182880">
              <a:lnSpc>
                <a:spcPct val="100600"/>
              </a:lnSpc>
              <a:buFont typeface="Wingdings" panose="05000000000000000000" pitchFamily="2" charset="2"/>
              <a:buChar char="ü"/>
            </a:pPr>
            <a:r>
              <a:rPr lang="en-US" sz="800" spc="100" dirty="0">
                <a:solidFill>
                  <a:srgbClr val="0033A0"/>
                </a:solidFill>
                <a:latin typeface="Abadi Extra Light" panose="020B0204020104020204" pitchFamily="34" charset="0"/>
                <a:cs typeface="Calibri"/>
              </a:rPr>
              <a:t>Currently implemented</a:t>
            </a:r>
          </a:p>
          <a:p>
            <a:pPr marL="184150" marR="5080" indent="-171450">
              <a:lnSpc>
                <a:spcPct val="100600"/>
              </a:lnSpc>
              <a:buFont typeface="Arial" panose="020B0604020202020204" pitchFamily="34" charset="0"/>
              <a:buChar char="•"/>
            </a:pPr>
            <a:r>
              <a:rPr lang="en-US" sz="800" spc="100" dirty="0">
                <a:solidFill>
                  <a:schemeClr val="tx2"/>
                </a:solidFill>
                <a:latin typeface="Abadi Extra Light" panose="020B0204020104020204" pitchFamily="34" charset="0"/>
                <a:cs typeface="Calibri"/>
              </a:rPr>
              <a:t>Upcoming Use cases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A888B663-2FC1-0B00-444D-6A0BCC29F12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-94784" y="1006289"/>
            <a:ext cx="856539" cy="79816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  <a:alpha val="30000"/>
                  </a:schemeClr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Californian FB" panose="0207040306080B030204" pitchFamily="18" charset="0"/>
                <a:ea typeface="Source Sans Pro" panose="020B0503030403020204" pitchFamily="34" charset="0"/>
              </a:rPr>
              <a:t>1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  <a:alpha val="30000"/>
                </a:schemeClr>
              </a:solidFill>
              <a:effectLst/>
              <a:uLnTx/>
              <a:uFillTx/>
              <a:latin typeface="Californian FB" panose="0207040306080B030204" pitchFamily="18" charset="0"/>
              <a:ea typeface="Source Sans Pro" panose="020B0503030403020204" pitchFamily="34" charset="0"/>
            </a:endParaRP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FDBF424-9B27-1D0C-8928-B9BD1BD0D09E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-94784" y="1851712"/>
            <a:ext cx="856539" cy="79816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  <a:alpha val="30000"/>
                  </a:schemeClr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Californian FB" panose="0207040306080B030204" pitchFamily="18" charset="0"/>
                <a:ea typeface="Source Sans Pro" panose="020B0503030403020204" pitchFamily="34" charset="0"/>
              </a:rPr>
              <a:t>2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  <a:alpha val="30000"/>
                </a:schemeClr>
              </a:solidFill>
              <a:effectLst/>
              <a:uLnTx/>
              <a:uFillTx/>
              <a:latin typeface="Californian FB" panose="0207040306080B030204" pitchFamily="18" charset="0"/>
              <a:ea typeface="Source Sans Pro" panose="020B0503030403020204" pitchFamily="34" charset="0"/>
            </a:endParaRP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E534F94A-6628-61DC-EBF0-47C6BDC6068C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-111302" y="4884572"/>
            <a:ext cx="856539" cy="79816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  <a:alpha val="30000"/>
                  </a:schemeClr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Californian FB" panose="0207040306080B030204" pitchFamily="18" charset="0"/>
                <a:ea typeface="Source Sans Pro" panose="020B0503030403020204" pitchFamily="34" charset="0"/>
              </a:rPr>
              <a:t>4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  <a:alpha val="30000"/>
                </a:schemeClr>
              </a:solidFill>
              <a:effectLst/>
              <a:uLnTx/>
              <a:uFillTx/>
              <a:latin typeface="Californian FB" panose="0207040306080B030204" pitchFamily="18" charset="0"/>
              <a:ea typeface="Source Sans Pro" panose="020B0503030403020204" pitchFamily="34" charset="0"/>
            </a:endParaRPr>
          </a:p>
        </p:txBody>
      </p:sp>
      <p:pic>
        <p:nvPicPr>
          <p:cNvPr id="5" name="Picture 2" descr="Instant insight into your applications | CAST">
            <a:extLst>
              <a:ext uri="{FF2B5EF4-FFF2-40B4-BE49-F238E27FC236}">
                <a16:creationId xmlns:a16="http://schemas.microsoft.com/office/drawing/2014/main" id="{5CA2D940-9412-C3B6-0995-0FFECF1298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91" t="39926" r="27552" b="38439"/>
          <a:stretch/>
        </p:blipFill>
        <p:spPr bwMode="auto">
          <a:xfrm>
            <a:off x="6362955" y="4586977"/>
            <a:ext cx="457200" cy="116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What is GitHub.. GitHub is a platform for online… | by Sameer Hussain |  Medium">
            <a:extLst>
              <a:ext uri="{FF2B5EF4-FFF2-40B4-BE49-F238E27FC236}">
                <a16:creationId xmlns:a16="http://schemas.microsoft.com/office/drawing/2014/main" id="{70774CA9-FCD3-293A-95D7-A50B249AA5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7350" y="4526438"/>
            <a:ext cx="640080" cy="237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6C280BB-64C8-9773-3B16-D85883CA85C4}"/>
              </a:ext>
            </a:extLst>
          </p:cNvPr>
          <p:cNvCxnSpPr/>
          <p:nvPr/>
        </p:nvCxnSpPr>
        <p:spPr>
          <a:xfrm>
            <a:off x="1881553" y="4492537"/>
            <a:ext cx="8496000" cy="0"/>
          </a:xfrm>
          <a:prstGeom prst="line">
            <a:avLst/>
          </a:prstGeom>
          <a:ln w="31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B74A607-1685-19FE-BB85-C25C54E94F5A}"/>
              </a:ext>
            </a:extLst>
          </p:cNvPr>
          <p:cNvCxnSpPr/>
          <p:nvPr/>
        </p:nvCxnSpPr>
        <p:spPr>
          <a:xfrm>
            <a:off x="1881553" y="4757403"/>
            <a:ext cx="8496000" cy="0"/>
          </a:xfrm>
          <a:prstGeom prst="line">
            <a:avLst/>
          </a:prstGeom>
          <a:ln w="31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: Single Corner Rounded 9">
            <a:extLst>
              <a:ext uri="{FF2B5EF4-FFF2-40B4-BE49-F238E27FC236}">
                <a16:creationId xmlns:a16="http://schemas.microsoft.com/office/drawing/2014/main" id="{2C94F9B1-AD94-776A-E28E-4233A528F84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 rot="16200000" flipV="1">
            <a:off x="893373" y="3752601"/>
            <a:ext cx="182880" cy="1554480"/>
          </a:xfrm>
          <a:prstGeom prst="round1Rect">
            <a:avLst/>
          </a:prstGeom>
          <a:solidFill>
            <a:srgbClr val="E6ED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vert270" rtlCol="0" anchor="ctr"/>
          <a:lstStyle/>
          <a:p>
            <a:pPr marL="91440" algn="r" defTabSz="829544"/>
            <a:r>
              <a:rPr lang="en-US" sz="800" kern="0" spc="100" dirty="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Partners’ Products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C64DE31-F295-A7C6-B8E4-B6918EB1BF8F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-63720" y="4003006"/>
            <a:ext cx="856539" cy="79816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4400" b="1" dirty="0">
                <a:solidFill>
                  <a:schemeClr val="bg1">
                    <a:lumMod val="50000"/>
                    <a:alpha val="30000"/>
                  </a:schemeClr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Californian FB" panose="0207040306080B030204" pitchFamily="18" charset="0"/>
                <a:ea typeface="Source Sans Pro" panose="020B0503030403020204" pitchFamily="34" charset="0"/>
              </a:rPr>
              <a:t>3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  <a:alpha val="30000"/>
                </a:schemeClr>
              </a:solidFill>
              <a:effectLst/>
              <a:uLnTx/>
              <a:uFillTx/>
              <a:latin typeface="Californian FB" panose="0207040306080B030204" pitchFamily="18" charset="0"/>
              <a:ea typeface="Source Sans Pro" panose="020B0503030403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78CE39D-1681-8936-C779-BDFEF8606D90}"/>
              </a:ext>
            </a:extLst>
          </p:cNvPr>
          <p:cNvCxnSpPr/>
          <p:nvPr/>
        </p:nvCxnSpPr>
        <p:spPr>
          <a:xfrm>
            <a:off x="1888719" y="4777125"/>
            <a:ext cx="8496000" cy="0"/>
          </a:xfrm>
          <a:prstGeom prst="line">
            <a:avLst/>
          </a:prstGeom>
          <a:ln w="31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>
            <a:extLst>
              <a:ext uri="{FF2B5EF4-FFF2-40B4-BE49-F238E27FC236}">
                <a16:creationId xmlns:a16="http://schemas.microsoft.com/office/drawing/2014/main" id="{3219D152-66A6-0685-779E-354A2F3EA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caling Gen AI with Agentic Framewor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521240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lowchart: Terminator 2">
            <a:extLst>
              <a:ext uri="{FF2B5EF4-FFF2-40B4-BE49-F238E27FC236}">
                <a16:creationId xmlns:a16="http://schemas.microsoft.com/office/drawing/2014/main" id="{E97C021D-2435-F942-5376-BB79BF667382}"/>
              </a:ext>
            </a:extLst>
          </p:cNvPr>
          <p:cNvSpPr/>
          <p:nvPr/>
        </p:nvSpPr>
        <p:spPr>
          <a:xfrm>
            <a:off x="2435975" y="1996658"/>
            <a:ext cx="7288780" cy="2163170"/>
          </a:xfrm>
          <a:prstGeom prst="flowChartTerminator">
            <a:avLst/>
          </a:prstGeom>
          <a:noFill/>
          <a:ln w="3175">
            <a:prstDash val="lgDash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Flowchart: Terminator 4">
            <a:extLst>
              <a:ext uri="{FF2B5EF4-FFF2-40B4-BE49-F238E27FC236}">
                <a16:creationId xmlns:a16="http://schemas.microsoft.com/office/drawing/2014/main" id="{7789CB66-0E39-B461-ECA1-7BC29691AFE4}"/>
              </a:ext>
            </a:extLst>
          </p:cNvPr>
          <p:cNvSpPr/>
          <p:nvPr/>
        </p:nvSpPr>
        <p:spPr>
          <a:xfrm>
            <a:off x="2593627" y="2239380"/>
            <a:ext cx="4093627" cy="1689005"/>
          </a:xfrm>
          <a:prstGeom prst="flowChartTerminator">
            <a:avLst/>
          </a:prstGeom>
          <a:noFill/>
          <a:ln w="3175">
            <a:prstDash val="lgDash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24F5A3E-1F3D-B179-5471-215F3ECA9AC5}"/>
              </a:ext>
            </a:extLst>
          </p:cNvPr>
          <p:cNvSpPr>
            <a:spLocks noChangeAspect="1"/>
          </p:cNvSpPr>
          <p:nvPr/>
        </p:nvSpPr>
        <p:spPr>
          <a:xfrm>
            <a:off x="2968252" y="3317541"/>
            <a:ext cx="216000" cy="216000"/>
          </a:xfrm>
          <a:prstGeom prst="ellipse">
            <a:avLst/>
          </a:prstGeom>
          <a:noFill/>
          <a:ln w="19050">
            <a:solidFill>
              <a:srgbClr val="32AD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0D9C1F0-0C27-9287-293A-21CAD86C2BA1}"/>
              </a:ext>
            </a:extLst>
          </p:cNvPr>
          <p:cNvSpPr>
            <a:spLocks noChangeAspect="1"/>
          </p:cNvSpPr>
          <p:nvPr/>
        </p:nvSpPr>
        <p:spPr>
          <a:xfrm>
            <a:off x="3769816" y="3317541"/>
            <a:ext cx="216000" cy="216000"/>
          </a:xfrm>
          <a:prstGeom prst="ellipse">
            <a:avLst/>
          </a:prstGeom>
          <a:noFill/>
          <a:ln w="19050">
            <a:solidFill>
              <a:srgbClr val="32AD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D284F87-20C2-2BF1-7568-3C3DCA4A2676}"/>
              </a:ext>
            </a:extLst>
          </p:cNvPr>
          <p:cNvSpPr>
            <a:spLocks noChangeAspect="1"/>
          </p:cNvSpPr>
          <p:nvPr/>
        </p:nvSpPr>
        <p:spPr>
          <a:xfrm>
            <a:off x="4573430" y="3317541"/>
            <a:ext cx="216000" cy="216000"/>
          </a:xfrm>
          <a:prstGeom prst="ellipse">
            <a:avLst/>
          </a:prstGeom>
          <a:noFill/>
          <a:ln w="19050">
            <a:solidFill>
              <a:srgbClr val="32AD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5974044-0AE2-319D-3CF8-EE8943410A4C}"/>
              </a:ext>
            </a:extLst>
          </p:cNvPr>
          <p:cNvSpPr>
            <a:spLocks noChangeAspect="1"/>
          </p:cNvSpPr>
          <p:nvPr/>
        </p:nvSpPr>
        <p:spPr>
          <a:xfrm>
            <a:off x="5372944" y="3317541"/>
            <a:ext cx="216000" cy="216000"/>
          </a:xfrm>
          <a:prstGeom prst="ellipse">
            <a:avLst/>
          </a:prstGeom>
          <a:noFill/>
          <a:ln w="19050">
            <a:solidFill>
              <a:srgbClr val="32AD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57E0437-9918-CA92-78E9-F1A4423A6E73}"/>
              </a:ext>
            </a:extLst>
          </p:cNvPr>
          <p:cNvSpPr>
            <a:spLocks noChangeAspect="1"/>
          </p:cNvSpPr>
          <p:nvPr/>
        </p:nvSpPr>
        <p:spPr>
          <a:xfrm>
            <a:off x="6174509" y="3317541"/>
            <a:ext cx="216000" cy="216000"/>
          </a:xfrm>
          <a:prstGeom prst="ellipse">
            <a:avLst/>
          </a:prstGeom>
          <a:noFill/>
          <a:ln w="19050">
            <a:solidFill>
              <a:srgbClr val="32AD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37B1650-2498-AA6F-1C69-3F870355B162}"/>
              </a:ext>
            </a:extLst>
          </p:cNvPr>
          <p:cNvSpPr>
            <a:spLocks noChangeAspect="1"/>
          </p:cNvSpPr>
          <p:nvPr/>
        </p:nvSpPr>
        <p:spPr>
          <a:xfrm>
            <a:off x="4571380" y="2391179"/>
            <a:ext cx="216000" cy="216000"/>
          </a:xfrm>
          <a:prstGeom prst="ellipse">
            <a:avLst/>
          </a:prstGeom>
          <a:noFill/>
          <a:ln w="19050">
            <a:solidFill>
              <a:srgbClr val="32AD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C06D21E9-3040-4605-DC25-07F7F43C4BAD}"/>
              </a:ext>
            </a:extLst>
          </p:cNvPr>
          <p:cNvCxnSpPr>
            <a:cxnSpLocks/>
            <a:stCxn id="11" idx="4"/>
            <a:endCxn id="6" idx="0"/>
          </p:cNvCxnSpPr>
          <p:nvPr/>
        </p:nvCxnSpPr>
        <p:spPr>
          <a:xfrm rot="5400000">
            <a:off x="3522635" y="2160796"/>
            <a:ext cx="710362" cy="1603128"/>
          </a:xfrm>
          <a:prstGeom prst="bentConnector3">
            <a:avLst>
              <a:gd name="adj1" fmla="val 50000"/>
            </a:avLst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2">
            <a:extLst>
              <a:ext uri="{FF2B5EF4-FFF2-40B4-BE49-F238E27FC236}">
                <a16:creationId xmlns:a16="http://schemas.microsoft.com/office/drawing/2014/main" id="{B18B071C-2C04-92AB-061C-8F9ABAED72D7}"/>
              </a:ext>
            </a:extLst>
          </p:cNvPr>
          <p:cNvCxnSpPr>
            <a:cxnSpLocks/>
            <a:stCxn id="11" idx="4"/>
            <a:endCxn id="10" idx="0"/>
          </p:cNvCxnSpPr>
          <p:nvPr/>
        </p:nvCxnSpPr>
        <p:spPr>
          <a:xfrm rot="16200000" flipH="1">
            <a:off x="5125763" y="2160795"/>
            <a:ext cx="710362" cy="160312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2">
            <a:extLst>
              <a:ext uri="{FF2B5EF4-FFF2-40B4-BE49-F238E27FC236}">
                <a16:creationId xmlns:a16="http://schemas.microsoft.com/office/drawing/2014/main" id="{85C9DAFF-C8FF-2A65-43DB-6623D38509C7}"/>
              </a:ext>
            </a:extLst>
          </p:cNvPr>
          <p:cNvCxnSpPr>
            <a:cxnSpLocks/>
            <a:stCxn id="11" idx="4"/>
            <a:endCxn id="7" idx="0"/>
          </p:cNvCxnSpPr>
          <p:nvPr/>
        </p:nvCxnSpPr>
        <p:spPr>
          <a:xfrm rot="5400000">
            <a:off x="3923417" y="2561578"/>
            <a:ext cx="710362" cy="80156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12">
            <a:extLst>
              <a:ext uri="{FF2B5EF4-FFF2-40B4-BE49-F238E27FC236}">
                <a16:creationId xmlns:a16="http://schemas.microsoft.com/office/drawing/2014/main" id="{E57D7F63-E0F8-E19A-DC9C-A6A25B0D49DD}"/>
              </a:ext>
            </a:extLst>
          </p:cNvPr>
          <p:cNvCxnSpPr>
            <a:cxnSpLocks/>
            <a:stCxn id="11" idx="4"/>
            <a:endCxn id="8" idx="0"/>
          </p:cNvCxnSpPr>
          <p:nvPr/>
        </p:nvCxnSpPr>
        <p:spPr>
          <a:xfrm rot="16200000" flipH="1">
            <a:off x="4325224" y="2961335"/>
            <a:ext cx="710362" cy="205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2">
            <a:extLst>
              <a:ext uri="{FF2B5EF4-FFF2-40B4-BE49-F238E27FC236}">
                <a16:creationId xmlns:a16="http://schemas.microsoft.com/office/drawing/2014/main" id="{141448DB-C0E1-8021-C4D3-4C5EB3152DF0}"/>
              </a:ext>
            </a:extLst>
          </p:cNvPr>
          <p:cNvCxnSpPr>
            <a:cxnSpLocks/>
            <a:stCxn id="11" idx="4"/>
            <a:endCxn id="9" idx="0"/>
          </p:cNvCxnSpPr>
          <p:nvPr/>
        </p:nvCxnSpPr>
        <p:spPr>
          <a:xfrm rot="16200000" flipH="1">
            <a:off x="4724981" y="2561578"/>
            <a:ext cx="710362" cy="80156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CEE8EB2B-D7E2-573D-7E9A-FFD9C9D27ACF}"/>
              </a:ext>
            </a:extLst>
          </p:cNvPr>
          <p:cNvSpPr txBox="1"/>
          <p:nvPr/>
        </p:nvSpPr>
        <p:spPr>
          <a:xfrm>
            <a:off x="3015529" y="3482413"/>
            <a:ext cx="936000" cy="3332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algn="ctr">
              <a:lnSpc>
                <a:spcPct val="100600"/>
              </a:lnSpc>
            </a:pPr>
            <a:r>
              <a:rPr lang="en-US" sz="8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quirements Agent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15762FB-D205-509B-194D-528C3C878BE0}"/>
              </a:ext>
            </a:extLst>
          </p:cNvPr>
          <p:cNvSpPr txBox="1"/>
          <p:nvPr/>
        </p:nvSpPr>
        <p:spPr>
          <a:xfrm>
            <a:off x="3837334" y="3482413"/>
            <a:ext cx="936000" cy="3332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algn="ctr">
              <a:lnSpc>
                <a:spcPct val="100600"/>
              </a:lnSpc>
            </a:pPr>
            <a:r>
              <a:rPr lang="en-US" sz="8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sign </a:t>
            </a:r>
          </a:p>
          <a:p>
            <a:pPr marL="12700" marR="5080" algn="ctr">
              <a:lnSpc>
                <a:spcPct val="100600"/>
              </a:lnSpc>
            </a:pPr>
            <a:r>
              <a:rPr lang="en-US" sz="8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gent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31DB782-76DC-59C7-8C77-FE11CFFDD6DA}"/>
              </a:ext>
            </a:extLst>
          </p:cNvPr>
          <p:cNvSpPr txBox="1"/>
          <p:nvPr/>
        </p:nvSpPr>
        <p:spPr>
          <a:xfrm>
            <a:off x="4659139" y="3482413"/>
            <a:ext cx="936000" cy="3332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algn="ctr">
              <a:lnSpc>
                <a:spcPct val="100600"/>
              </a:lnSpc>
            </a:pPr>
            <a:r>
              <a:rPr lang="en-US" sz="8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velopment</a:t>
            </a:r>
          </a:p>
          <a:p>
            <a:pPr marL="12700" marR="5080" algn="ctr">
              <a:lnSpc>
                <a:spcPct val="100600"/>
              </a:lnSpc>
            </a:pPr>
            <a:r>
              <a:rPr lang="en-US" sz="8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gent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C10FA46-F79B-1D74-4964-D1769B29E10E}"/>
              </a:ext>
            </a:extLst>
          </p:cNvPr>
          <p:cNvSpPr txBox="1"/>
          <p:nvPr/>
        </p:nvSpPr>
        <p:spPr>
          <a:xfrm>
            <a:off x="5480944" y="3482413"/>
            <a:ext cx="936000" cy="3332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algn="ctr">
              <a:lnSpc>
                <a:spcPct val="100600"/>
              </a:lnSpc>
            </a:pPr>
            <a:r>
              <a:rPr lang="en-US" sz="8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est</a:t>
            </a:r>
          </a:p>
          <a:p>
            <a:pPr marL="12700" marR="5080" algn="ctr">
              <a:lnSpc>
                <a:spcPct val="100600"/>
              </a:lnSpc>
            </a:pPr>
            <a:r>
              <a:rPr lang="en-US" sz="8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gent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C432AF92-90EF-0E66-136A-22AA597ADDD9}"/>
              </a:ext>
            </a:extLst>
          </p:cNvPr>
          <p:cNvSpPr>
            <a:spLocks noChangeAspect="1"/>
          </p:cNvSpPr>
          <p:nvPr/>
        </p:nvSpPr>
        <p:spPr>
          <a:xfrm>
            <a:off x="5448221" y="2391272"/>
            <a:ext cx="216000" cy="216000"/>
          </a:xfrm>
          <a:prstGeom prst="ellipse">
            <a:avLst/>
          </a:prstGeom>
          <a:noFill/>
          <a:ln w="19050">
            <a:solidFill>
              <a:srgbClr val="32AD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3B967AD-E28D-F1AB-1C49-284E3AD5F492}"/>
              </a:ext>
            </a:extLst>
          </p:cNvPr>
          <p:cNvSpPr txBox="1"/>
          <p:nvPr/>
        </p:nvSpPr>
        <p:spPr>
          <a:xfrm>
            <a:off x="3730162" y="2398275"/>
            <a:ext cx="936000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>
            <a:defPPr>
              <a:defRPr lang="en-US"/>
            </a:defPPr>
            <a:lvl1pPr marL="12700">
              <a:spcBef>
                <a:spcPts val="120"/>
              </a:spcBef>
              <a:defRPr sz="1000" spc="5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Orchestrator</a:t>
            </a:r>
          </a:p>
        </p:txBody>
      </p:sp>
      <p:cxnSp>
        <p:nvCxnSpPr>
          <p:cNvPr id="46" name="Straight Arrow Connector 12">
            <a:extLst>
              <a:ext uri="{FF2B5EF4-FFF2-40B4-BE49-F238E27FC236}">
                <a16:creationId xmlns:a16="http://schemas.microsoft.com/office/drawing/2014/main" id="{E6ED94AC-DA8C-FD26-066A-EC243A773A8E}"/>
              </a:ext>
            </a:extLst>
          </p:cNvPr>
          <p:cNvCxnSpPr>
            <a:cxnSpLocks/>
            <a:stCxn id="41" idx="2"/>
            <a:endCxn id="11" idx="6"/>
          </p:cNvCxnSpPr>
          <p:nvPr/>
        </p:nvCxnSpPr>
        <p:spPr>
          <a:xfrm rot="10800000">
            <a:off x="4787381" y="2499180"/>
            <a:ext cx="660841" cy="93"/>
          </a:xfrm>
          <a:prstGeom prst="bentConnector3">
            <a:avLst>
              <a:gd name="adj1" fmla="val 50000"/>
            </a:avLst>
          </a:prstGeom>
          <a:ln w="6350" cap="flat" cmpd="sng" algn="ctr">
            <a:solidFill>
              <a:schemeClr val="accent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F358926D-4291-C7A4-882A-C478204AB017}"/>
              </a:ext>
            </a:extLst>
          </p:cNvPr>
          <p:cNvSpPr txBox="1"/>
          <p:nvPr/>
        </p:nvSpPr>
        <p:spPr>
          <a:xfrm>
            <a:off x="5751254" y="2394154"/>
            <a:ext cx="936000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>
            <a:defPPr>
              <a:defRPr lang="en-US"/>
            </a:defPPr>
            <a:lvl1pPr marL="12700">
              <a:spcBef>
                <a:spcPts val="120"/>
              </a:spcBef>
              <a:defRPr sz="1000" spc="5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Checker</a:t>
            </a:r>
          </a:p>
        </p:txBody>
      </p:sp>
      <p:sp>
        <p:nvSpPr>
          <p:cNvPr id="50" name="Flowchart: Connector 49">
            <a:extLst>
              <a:ext uri="{FF2B5EF4-FFF2-40B4-BE49-F238E27FC236}">
                <a16:creationId xmlns:a16="http://schemas.microsoft.com/office/drawing/2014/main" id="{B025BE3C-092F-058E-3847-1D3DA51D2125}"/>
              </a:ext>
            </a:extLst>
          </p:cNvPr>
          <p:cNvSpPr/>
          <p:nvPr/>
        </p:nvSpPr>
        <p:spPr>
          <a:xfrm>
            <a:off x="7795468" y="2331874"/>
            <a:ext cx="1453661" cy="1492738"/>
          </a:xfrm>
          <a:prstGeom prst="flowChartConnector">
            <a:avLst/>
          </a:prstGeom>
          <a:noFill/>
          <a:ln w="3175">
            <a:prstDash val="lgDash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51" name="Straight Arrow Connector 12">
            <a:extLst>
              <a:ext uri="{FF2B5EF4-FFF2-40B4-BE49-F238E27FC236}">
                <a16:creationId xmlns:a16="http://schemas.microsoft.com/office/drawing/2014/main" id="{79A4E8FF-7FFB-DD58-7496-B37E303C099D}"/>
              </a:ext>
            </a:extLst>
          </p:cNvPr>
          <p:cNvCxnSpPr>
            <a:cxnSpLocks/>
            <a:stCxn id="50" idx="2"/>
            <a:endCxn id="5" idx="3"/>
          </p:cNvCxnSpPr>
          <p:nvPr/>
        </p:nvCxnSpPr>
        <p:spPr>
          <a:xfrm flipH="1">
            <a:off x="6687254" y="3078243"/>
            <a:ext cx="1108214" cy="5640"/>
          </a:xfrm>
          <a:prstGeom prst="straightConnector1">
            <a:avLst/>
          </a:prstGeom>
          <a:ln w="6350" cap="flat" cmpd="sng" algn="ctr">
            <a:solidFill>
              <a:schemeClr val="accent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7F71130B-BF35-C8BA-B514-EABBDFD825C4}"/>
              </a:ext>
            </a:extLst>
          </p:cNvPr>
          <p:cNvSpPr txBox="1"/>
          <p:nvPr/>
        </p:nvSpPr>
        <p:spPr>
          <a:xfrm>
            <a:off x="6831734" y="2806141"/>
            <a:ext cx="936000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>
            <a:defPPr>
              <a:defRPr lang="en-US"/>
            </a:defPPr>
            <a:lvl1pPr marL="12700">
              <a:spcBef>
                <a:spcPts val="120"/>
              </a:spcBef>
              <a:defRPr sz="1000" spc="5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MCP Server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9B91CF0-2F36-A404-71A9-7FF4CC7EADEB}"/>
              </a:ext>
            </a:extLst>
          </p:cNvPr>
          <p:cNvSpPr txBox="1"/>
          <p:nvPr/>
        </p:nvSpPr>
        <p:spPr>
          <a:xfrm>
            <a:off x="7959144" y="2665927"/>
            <a:ext cx="1452842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>
            <a:defPPr>
              <a:defRPr lang="en-US"/>
            </a:defPPr>
            <a:lvl1pPr marL="12700">
              <a:spcBef>
                <a:spcPts val="120"/>
              </a:spcBef>
              <a:defRPr sz="1000" spc="5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Other Systems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0CBEEAB-6928-1EEF-E69B-C7EB299C689E}"/>
              </a:ext>
            </a:extLst>
          </p:cNvPr>
          <p:cNvSpPr txBox="1"/>
          <p:nvPr/>
        </p:nvSpPr>
        <p:spPr>
          <a:xfrm>
            <a:off x="7866114" y="2883633"/>
            <a:ext cx="1364571" cy="6431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algn="ctr">
              <a:lnSpc>
                <a:spcPct val="100600"/>
              </a:lnSpc>
            </a:pPr>
            <a:r>
              <a:rPr lang="en-US" sz="9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gents interact with internal and external systems to complete the task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E6E1F08-B5B0-FFCD-2405-59B3F3099A65}"/>
              </a:ext>
            </a:extLst>
          </p:cNvPr>
          <p:cNvSpPr txBox="1"/>
          <p:nvPr/>
        </p:nvSpPr>
        <p:spPr>
          <a:xfrm>
            <a:off x="3985816" y="3950925"/>
            <a:ext cx="1400759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>
            <a:defPPr>
              <a:defRPr lang="en-US"/>
            </a:defPPr>
            <a:lvl1pPr marL="12700">
              <a:spcBef>
                <a:spcPts val="120"/>
              </a:spcBef>
              <a:defRPr sz="1000" spc="5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defRPr>
            </a:lvl1pPr>
          </a:lstStyle>
          <a:p>
            <a:pPr algn="ctr"/>
            <a:r>
              <a:rPr lang="en-US" dirty="0"/>
              <a:t>Specialist Agents</a:t>
            </a:r>
          </a:p>
        </p:txBody>
      </p:sp>
      <p:sp>
        <p:nvSpPr>
          <p:cNvPr id="62" name="Freeform 11">
            <a:extLst>
              <a:ext uri="{FF2B5EF4-FFF2-40B4-BE49-F238E27FC236}">
                <a16:creationId xmlns:a16="http://schemas.microsoft.com/office/drawing/2014/main" id="{BE116F64-AACA-C1A7-DE4C-ACE7A2B9AE86}"/>
              </a:ext>
            </a:extLst>
          </p:cNvPr>
          <p:cNvSpPr/>
          <p:nvPr/>
        </p:nvSpPr>
        <p:spPr>
          <a:xfrm>
            <a:off x="846784" y="5499244"/>
            <a:ext cx="10512000" cy="4821"/>
          </a:xfrm>
          <a:custGeom>
            <a:avLst/>
            <a:gdLst>
              <a:gd name="connsiteX0" fmla="*/ 0 w 3895119"/>
              <a:gd name="connsiteY0" fmla="*/ 0 h 4821"/>
              <a:gd name="connsiteX1" fmla="*/ 3895120 w 3895119"/>
              <a:gd name="connsiteY1" fmla="*/ 0 h 4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95119" h="4821">
                <a:moveTo>
                  <a:pt x="0" y="0"/>
                </a:moveTo>
                <a:lnTo>
                  <a:pt x="3895120" y="0"/>
                </a:lnTo>
              </a:path>
            </a:pathLst>
          </a:custGeom>
          <a:ln w="139700" cap="rnd">
            <a:solidFill>
              <a:srgbClr val="EAEDE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63" name="Freeform 13">
            <a:extLst>
              <a:ext uri="{FF2B5EF4-FFF2-40B4-BE49-F238E27FC236}">
                <a16:creationId xmlns:a16="http://schemas.microsoft.com/office/drawing/2014/main" id="{B7F93FC8-8C40-EB1F-31C4-EB673D334E5F}"/>
              </a:ext>
            </a:extLst>
          </p:cNvPr>
          <p:cNvSpPr/>
          <p:nvPr/>
        </p:nvSpPr>
        <p:spPr>
          <a:xfrm>
            <a:off x="10944760" y="5442218"/>
            <a:ext cx="110221" cy="118872"/>
          </a:xfrm>
          <a:custGeom>
            <a:avLst/>
            <a:gdLst>
              <a:gd name="connsiteX0" fmla="*/ 0 w 110221"/>
              <a:gd name="connsiteY0" fmla="*/ 127242 h 127241"/>
              <a:gd name="connsiteX1" fmla="*/ 110221 w 110221"/>
              <a:gd name="connsiteY1" fmla="*/ 63645 h 127241"/>
              <a:gd name="connsiteX2" fmla="*/ 0 w 110221"/>
              <a:gd name="connsiteY2" fmla="*/ 0 h 127241"/>
              <a:gd name="connsiteX3" fmla="*/ 0 w 110221"/>
              <a:gd name="connsiteY3" fmla="*/ 127242 h 127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221" h="127241">
                <a:moveTo>
                  <a:pt x="0" y="127242"/>
                </a:moveTo>
                <a:lnTo>
                  <a:pt x="110221" y="63645"/>
                </a:lnTo>
                <a:lnTo>
                  <a:pt x="0" y="0"/>
                </a:lnTo>
                <a:lnTo>
                  <a:pt x="0" y="127242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 w="190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64" name="Freeform 12">
            <a:extLst>
              <a:ext uri="{FF2B5EF4-FFF2-40B4-BE49-F238E27FC236}">
                <a16:creationId xmlns:a16="http://schemas.microsoft.com/office/drawing/2014/main" id="{F34A0E9B-3F1B-CC51-B4DA-E185333703E3}"/>
              </a:ext>
            </a:extLst>
          </p:cNvPr>
          <p:cNvSpPr/>
          <p:nvPr/>
        </p:nvSpPr>
        <p:spPr>
          <a:xfrm>
            <a:off x="1171207" y="5499244"/>
            <a:ext cx="9784080" cy="4821"/>
          </a:xfrm>
          <a:custGeom>
            <a:avLst/>
            <a:gdLst>
              <a:gd name="connsiteX0" fmla="*/ 0 w 1595125"/>
              <a:gd name="connsiteY0" fmla="*/ 0 h 4821"/>
              <a:gd name="connsiteX1" fmla="*/ 1595126 w 1595125"/>
              <a:gd name="connsiteY1" fmla="*/ 0 h 4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595125" h="4821">
                <a:moveTo>
                  <a:pt x="0" y="0"/>
                </a:moveTo>
                <a:lnTo>
                  <a:pt x="1595126" y="0"/>
                </a:lnTo>
              </a:path>
            </a:pathLst>
          </a:custGeom>
          <a:ln w="9525" cap="flat">
            <a:solidFill>
              <a:schemeClr val="accent3">
                <a:lumMod val="60000"/>
                <a:lumOff val="40000"/>
              </a:schemeClr>
            </a:solidFill>
            <a:prstDash val="sysDash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65" name="Freeform 18">
            <a:extLst>
              <a:ext uri="{FF2B5EF4-FFF2-40B4-BE49-F238E27FC236}">
                <a16:creationId xmlns:a16="http://schemas.microsoft.com/office/drawing/2014/main" id="{BF1568A5-6356-A1CD-E448-9DC559545EF9}"/>
              </a:ext>
            </a:extLst>
          </p:cNvPr>
          <p:cNvSpPr/>
          <p:nvPr/>
        </p:nvSpPr>
        <p:spPr>
          <a:xfrm>
            <a:off x="2916018" y="5433074"/>
            <a:ext cx="457200" cy="137160"/>
          </a:xfrm>
          <a:prstGeom prst="flowChartTerminator">
            <a:avLst/>
          </a:prstGeom>
          <a:solidFill>
            <a:srgbClr val="0088CE"/>
          </a:solidFill>
          <a:ln w="190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66" name="Freeform 28">
            <a:extLst>
              <a:ext uri="{FF2B5EF4-FFF2-40B4-BE49-F238E27FC236}">
                <a16:creationId xmlns:a16="http://schemas.microsoft.com/office/drawing/2014/main" id="{AF3C6947-002C-B9E6-C6E9-E753C7FDB379}"/>
              </a:ext>
            </a:extLst>
          </p:cNvPr>
          <p:cNvSpPr/>
          <p:nvPr/>
        </p:nvSpPr>
        <p:spPr>
          <a:xfrm>
            <a:off x="8152851" y="5433074"/>
            <a:ext cx="457200" cy="137160"/>
          </a:xfrm>
          <a:prstGeom prst="flowChartTerminator">
            <a:avLst/>
          </a:prstGeom>
          <a:solidFill>
            <a:srgbClr val="0033A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67" name="Freeform 18">
            <a:extLst>
              <a:ext uri="{FF2B5EF4-FFF2-40B4-BE49-F238E27FC236}">
                <a16:creationId xmlns:a16="http://schemas.microsoft.com/office/drawing/2014/main" id="{6EAB85C3-1F3A-D8FF-8259-00CEC84FCADD}"/>
              </a:ext>
            </a:extLst>
          </p:cNvPr>
          <p:cNvSpPr/>
          <p:nvPr/>
        </p:nvSpPr>
        <p:spPr>
          <a:xfrm>
            <a:off x="1170407" y="5433074"/>
            <a:ext cx="457200" cy="137160"/>
          </a:xfrm>
          <a:prstGeom prst="flowChartTerminator">
            <a:avLst/>
          </a:prstGeom>
          <a:solidFill>
            <a:schemeClr val="accent3">
              <a:lumMod val="60000"/>
              <a:lumOff val="40000"/>
            </a:schemeClr>
          </a:solidFill>
          <a:ln w="190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68" name="Freeform 19">
            <a:extLst>
              <a:ext uri="{FF2B5EF4-FFF2-40B4-BE49-F238E27FC236}">
                <a16:creationId xmlns:a16="http://schemas.microsoft.com/office/drawing/2014/main" id="{813E8911-83F8-D5D5-68CE-2D023611C60A}"/>
              </a:ext>
            </a:extLst>
          </p:cNvPr>
          <p:cNvSpPr/>
          <p:nvPr/>
        </p:nvSpPr>
        <p:spPr>
          <a:xfrm>
            <a:off x="4661629" y="5433074"/>
            <a:ext cx="457200" cy="137160"/>
          </a:xfrm>
          <a:prstGeom prst="flowChartTerminator">
            <a:avLst/>
          </a:prstGeom>
          <a:solidFill>
            <a:srgbClr val="0071C6"/>
          </a:solidFill>
          <a:ln w="190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69" name="Freeform 28">
            <a:extLst>
              <a:ext uri="{FF2B5EF4-FFF2-40B4-BE49-F238E27FC236}">
                <a16:creationId xmlns:a16="http://schemas.microsoft.com/office/drawing/2014/main" id="{226704C1-BC9E-E80D-7FAF-7AEF118AE683}"/>
              </a:ext>
            </a:extLst>
          </p:cNvPr>
          <p:cNvSpPr/>
          <p:nvPr/>
        </p:nvSpPr>
        <p:spPr>
          <a:xfrm>
            <a:off x="9898462" y="5433074"/>
            <a:ext cx="457200" cy="137160"/>
          </a:xfrm>
          <a:prstGeom prst="flowChartTerminator">
            <a:avLst/>
          </a:prstGeom>
          <a:solidFill>
            <a:srgbClr val="00006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70" name="object 3">
            <a:extLst>
              <a:ext uri="{FF2B5EF4-FFF2-40B4-BE49-F238E27FC236}">
                <a16:creationId xmlns:a16="http://schemas.microsoft.com/office/drawing/2014/main" id="{ED126125-A805-2123-7620-4AF868CD020B}"/>
              </a:ext>
            </a:extLst>
          </p:cNvPr>
          <p:cNvSpPr txBox="1"/>
          <p:nvPr/>
        </p:nvSpPr>
        <p:spPr>
          <a:xfrm>
            <a:off x="965690" y="5142799"/>
            <a:ext cx="1195994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lang="en-US" sz="1000" spc="50" dirty="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rPr>
              <a:t>Requirements</a:t>
            </a:r>
            <a:endParaRPr sz="1000" spc="50" dirty="0">
              <a:solidFill>
                <a:schemeClr val="tx2">
                  <a:lumMod val="75000"/>
                  <a:lumOff val="25000"/>
                </a:schemeClr>
              </a:solidFill>
              <a:latin typeface="Aptos SemiBold" panose="020B000402020202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71" name="object 3">
            <a:extLst>
              <a:ext uri="{FF2B5EF4-FFF2-40B4-BE49-F238E27FC236}">
                <a16:creationId xmlns:a16="http://schemas.microsoft.com/office/drawing/2014/main" id="{82FBA21F-173A-615A-8714-9FFEEFE21232}"/>
              </a:ext>
            </a:extLst>
          </p:cNvPr>
          <p:cNvSpPr txBox="1"/>
          <p:nvPr/>
        </p:nvSpPr>
        <p:spPr>
          <a:xfrm>
            <a:off x="2975791" y="5142799"/>
            <a:ext cx="1195994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lang="en-US" sz="1000" spc="50" dirty="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rPr>
              <a:t>Design</a:t>
            </a:r>
            <a:endParaRPr sz="1000" spc="50" dirty="0">
              <a:solidFill>
                <a:schemeClr val="tx2">
                  <a:lumMod val="75000"/>
                  <a:lumOff val="25000"/>
                </a:schemeClr>
              </a:solidFill>
              <a:latin typeface="Aptos SemiBold" panose="020B000402020202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72" name="object 3">
            <a:extLst>
              <a:ext uri="{FF2B5EF4-FFF2-40B4-BE49-F238E27FC236}">
                <a16:creationId xmlns:a16="http://schemas.microsoft.com/office/drawing/2014/main" id="{1D9E6D55-DECE-0FFC-03F3-8199061EB0B4}"/>
              </a:ext>
            </a:extLst>
          </p:cNvPr>
          <p:cNvSpPr txBox="1"/>
          <p:nvPr/>
        </p:nvSpPr>
        <p:spPr>
          <a:xfrm>
            <a:off x="4712935" y="5142799"/>
            <a:ext cx="1195994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lang="en-US" sz="1000" spc="50" dirty="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rPr>
              <a:t>Develop</a:t>
            </a:r>
            <a:endParaRPr sz="1000" spc="50" dirty="0">
              <a:solidFill>
                <a:schemeClr val="tx2">
                  <a:lumMod val="75000"/>
                  <a:lumOff val="25000"/>
                </a:schemeClr>
              </a:solidFill>
              <a:latin typeface="Aptos SemiBold" panose="020B000402020202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73" name="object 3">
            <a:extLst>
              <a:ext uri="{FF2B5EF4-FFF2-40B4-BE49-F238E27FC236}">
                <a16:creationId xmlns:a16="http://schemas.microsoft.com/office/drawing/2014/main" id="{FBB2CE02-7442-3529-5AC7-ACC4A153AB7B}"/>
              </a:ext>
            </a:extLst>
          </p:cNvPr>
          <p:cNvSpPr txBox="1"/>
          <p:nvPr/>
        </p:nvSpPr>
        <p:spPr>
          <a:xfrm>
            <a:off x="6450079" y="5142799"/>
            <a:ext cx="1195994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lang="en-US" sz="1000" spc="50" dirty="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rPr>
              <a:t>Test</a:t>
            </a:r>
            <a:endParaRPr sz="1000" spc="50" dirty="0">
              <a:solidFill>
                <a:schemeClr val="tx2">
                  <a:lumMod val="75000"/>
                  <a:lumOff val="25000"/>
                </a:schemeClr>
              </a:solidFill>
              <a:latin typeface="Aptos SemiBold" panose="020B000402020202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74" name="object 3">
            <a:extLst>
              <a:ext uri="{FF2B5EF4-FFF2-40B4-BE49-F238E27FC236}">
                <a16:creationId xmlns:a16="http://schemas.microsoft.com/office/drawing/2014/main" id="{F213AD94-A00E-94C8-DFEF-F5DB18547621}"/>
              </a:ext>
            </a:extLst>
          </p:cNvPr>
          <p:cNvSpPr txBox="1"/>
          <p:nvPr/>
        </p:nvSpPr>
        <p:spPr>
          <a:xfrm>
            <a:off x="8166751" y="5142799"/>
            <a:ext cx="1195994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lang="en-US" sz="1000" spc="50" dirty="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rPr>
              <a:t>Deploy</a:t>
            </a:r>
            <a:endParaRPr sz="1000" spc="50" dirty="0">
              <a:solidFill>
                <a:schemeClr val="tx2">
                  <a:lumMod val="75000"/>
                  <a:lumOff val="25000"/>
                </a:schemeClr>
              </a:solidFill>
              <a:latin typeface="Aptos SemiBold" panose="020B000402020202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75" name="object 3">
            <a:extLst>
              <a:ext uri="{FF2B5EF4-FFF2-40B4-BE49-F238E27FC236}">
                <a16:creationId xmlns:a16="http://schemas.microsoft.com/office/drawing/2014/main" id="{2A08D83F-4DD6-E243-11C4-143EB680FCD3}"/>
              </a:ext>
            </a:extLst>
          </p:cNvPr>
          <p:cNvSpPr txBox="1"/>
          <p:nvPr/>
        </p:nvSpPr>
        <p:spPr>
          <a:xfrm>
            <a:off x="9903895" y="5142799"/>
            <a:ext cx="1195994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lang="en-US" sz="1000" spc="50" dirty="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rPr>
              <a:t>Monitor</a:t>
            </a:r>
            <a:endParaRPr sz="1000" spc="50" dirty="0">
              <a:solidFill>
                <a:schemeClr val="tx2">
                  <a:lumMod val="75000"/>
                  <a:lumOff val="25000"/>
                </a:schemeClr>
              </a:solidFill>
              <a:latin typeface="Aptos SemiBold" panose="020B000402020202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76" name="Freeform 19">
            <a:extLst>
              <a:ext uri="{FF2B5EF4-FFF2-40B4-BE49-F238E27FC236}">
                <a16:creationId xmlns:a16="http://schemas.microsoft.com/office/drawing/2014/main" id="{43431A57-9B9A-5AA2-70AC-12E061896DF1}"/>
              </a:ext>
            </a:extLst>
          </p:cNvPr>
          <p:cNvSpPr/>
          <p:nvPr/>
        </p:nvSpPr>
        <p:spPr>
          <a:xfrm>
            <a:off x="6407240" y="5433074"/>
            <a:ext cx="457200" cy="137160"/>
          </a:xfrm>
          <a:prstGeom prst="flowChartTerminator">
            <a:avLst/>
          </a:prstGeom>
          <a:solidFill>
            <a:srgbClr val="0071C6"/>
          </a:solidFill>
          <a:ln w="190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77" name="Freeform 13">
            <a:extLst>
              <a:ext uri="{FF2B5EF4-FFF2-40B4-BE49-F238E27FC236}">
                <a16:creationId xmlns:a16="http://schemas.microsoft.com/office/drawing/2014/main" id="{DBE21410-50A4-17C3-4BB1-CB7457071659}"/>
              </a:ext>
            </a:extLst>
          </p:cNvPr>
          <p:cNvSpPr/>
          <p:nvPr/>
        </p:nvSpPr>
        <p:spPr>
          <a:xfrm>
            <a:off x="2676848" y="5442218"/>
            <a:ext cx="110221" cy="118872"/>
          </a:xfrm>
          <a:custGeom>
            <a:avLst/>
            <a:gdLst>
              <a:gd name="connsiteX0" fmla="*/ 0 w 110221"/>
              <a:gd name="connsiteY0" fmla="*/ 127242 h 127241"/>
              <a:gd name="connsiteX1" fmla="*/ 110221 w 110221"/>
              <a:gd name="connsiteY1" fmla="*/ 63645 h 127241"/>
              <a:gd name="connsiteX2" fmla="*/ 0 w 110221"/>
              <a:gd name="connsiteY2" fmla="*/ 0 h 127241"/>
              <a:gd name="connsiteX3" fmla="*/ 0 w 110221"/>
              <a:gd name="connsiteY3" fmla="*/ 127242 h 127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221" h="127241">
                <a:moveTo>
                  <a:pt x="0" y="127242"/>
                </a:moveTo>
                <a:lnTo>
                  <a:pt x="110221" y="63645"/>
                </a:lnTo>
                <a:lnTo>
                  <a:pt x="0" y="0"/>
                </a:lnTo>
                <a:lnTo>
                  <a:pt x="0" y="127242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 w="190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78" name="Freeform 13">
            <a:extLst>
              <a:ext uri="{FF2B5EF4-FFF2-40B4-BE49-F238E27FC236}">
                <a16:creationId xmlns:a16="http://schemas.microsoft.com/office/drawing/2014/main" id="{4CBB8021-8D71-2EA1-5270-CE5AFF2E20BF}"/>
              </a:ext>
            </a:extLst>
          </p:cNvPr>
          <p:cNvSpPr/>
          <p:nvPr/>
        </p:nvSpPr>
        <p:spPr>
          <a:xfrm>
            <a:off x="4398861" y="5442218"/>
            <a:ext cx="110221" cy="118872"/>
          </a:xfrm>
          <a:custGeom>
            <a:avLst/>
            <a:gdLst>
              <a:gd name="connsiteX0" fmla="*/ 0 w 110221"/>
              <a:gd name="connsiteY0" fmla="*/ 127242 h 127241"/>
              <a:gd name="connsiteX1" fmla="*/ 110221 w 110221"/>
              <a:gd name="connsiteY1" fmla="*/ 63645 h 127241"/>
              <a:gd name="connsiteX2" fmla="*/ 0 w 110221"/>
              <a:gd name="connsiteY2" fmla="*/ 0 h 127241"/>
              <a:gd name="connsiteX3" fmla="*/ 0 w 110221"/>
              <a:gd name="connsiteY3" fmla="*/ 127242 h 127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221" h="127241">
                <a:moveTo>
                  <a:pt x="0" y="127242"/>
                </a:moveTo>
                <a:lnTo>
                  <a:pt x="110221" y="63645"/>
                </a:lnTo>
                <a:lnTo>
                  <a:pt x="0" y="0"/>
                </a:lnTo>
                <a:lnTo>
                  <a:pt x="0" y="127242"/>
                </a:lnTo>
                <a:close/>
              </a:path>
            </a:pathLst>
          </a:custGeom>
          <a:solidFill>
            <a:srgbClr val="0088CE"/>
          </a:solidFill>
          <a:ln w="190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79" name="Freeform 13">
            <a:extLst>
              <a:ext uri="{FF2B5EF4-FFF2-40B4-BE49-F238E27FC236}">
                <a16:creationId xmlns:a16="http://schemas.microsoft.com/office/drawing/2014/main" id="{6C0C63E6-3FB3-48D2-0423-97D2E313A285}"/>
              </a:ext>
            </a:extLst>
          </p:cNvPr>
          <p:cNvSpPr/>
          <p:nvPr/>
        </p:nvSpPr>
        <p:spPr>
          <a:xfrm>
            <a:off x="6095304" y="5442218"/>
            <a:ext cx="110221" cy="118872"/>
          </a:xfrm>
          <a:custGeom>
            <a:avLst/>
            <a:gdLst>
              <a:gd name="connsiteX0" fmla="*/ 0 w 110221"/>
              <a:gd name="connsiteY0" fmla="*/ 127242 h 127241"/>
              <a:gd name="connsiteX1" fmla="*/ 110221 w 110221"/>
              <a:gd name="connsiteY1" fmla="*/ 63645 h 127241"/>
              <a:gd name="connsiteX2" fmla="*/ 0 w 110221"/>
              <a:gd name="connsiteY2" fmla="*/ 0 h 127241"/>
              <a:gd name="connsiteX3" fmla="*/ 0 w 110221"/>
              <a:gd name="connsiteY3" fmla="*/ 127242 h 127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221" h="127241">
                <a:moveTo>
                  <a:pt x="0" y="127242"/>
                </a:moveTo>
                <a:lnTo>
                  <a:pt x="110221" y="63645"/>
                </a:lnTo>
                <a:lnTo>
                  <a:pt x="0" y="0"/>
                </a:lnTo>
                <a:lnTo>
                  <a:pt x="0" y="127242"/>
                </a:lnTo>
                <a:close/>
              </a:path>
            </a:pathLst>
          </a:custGeom>
          <a:solidFill>
            <a:srgbClr val="0071C6"/>
          </a:solidFill>
          <a:ln w="190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80" name="Freeform 13">
            <a:extLst>
              <a:ext uri="{FF2B5EF4-FFF2-40B4-BE49-F238E27FC236}">
                <a16:creationId xmlns:a16="http://schemas.microsoft.com/office/drawing/2014/main" id="{F0108169-6355-0B86-AC30-2CAE53569AAE}"/>
              </a:ext>
            </a:extLst>
          </p:cNvPr>
          <p:cNvSpPr/>
          <p:nvPr/>
        </p:nvSpPr>
        <p:spPr>
          <a:xfrm>
            <a:off x="7840915" y="5442218"/>
            <a:ext cx="110221" cy="118872"/>
          </a:xfrm>
          <a:custGeom>
            <a:avLst/>
            <a:gdLst>
              <a:gd name="connsiteX0" fmla="*/ 0 w 110221"/>
              <a:gd name="connsiteY0" fmla="*/ 127242 h 127241"/>
              <a:gd name="connsiteX1" fmla="*/ 110221 w 110221"/>
              <a:gd name="connsiteY1" fmla="*/ 63645 h 127241"/>
              <a:gd name="connsiteX2" fmla="*/ 0 w 110221"/>
              <a:gd name="connsiteY2" fmla="*/ 0 h 127241"/>
              <a:gd name="connsiteX3" fmla="*/ 0 w 110221"/>
              <a:gd name="connsiteY3" fmla="*/ 127242 h 127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221" h="127241">
                <a:moveTo>
                  <a:pt x="0" y="127242"/>
                </a:moveTo>
                <a:lnTo>
                  <a:pt x="110221" y="63645"/>
                </a:lnTo>
                <a:lnTo>
                  <a:pt x="0" y="0"/>
                </a:lnTo>
                <a:lnTo>
                  <a:pt x="0" y="127242"/>
                </a:lnTo>
                <a:close/>
              </a:path>
            </a:pathLst>
          </a:custGeom>
          <a:solidFill>
            <a:srgbClr val="0071C6"/>
          </a:solidFill>
          <a:ln w="190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81" name="Freeform 13">
            <a:extLst>
              <a:ext uri="{FF2B5EF4-FFF2-40B4-BE49-F238E27FC236}">
                <a16:creationId xmlns:a16="http://schemas.microsoft.com/office/drawing/2014/main" id="{26DDEB83-5774-F531-9275-3778288965DA}"/>
              </a:ext>
            </a:extLst>
          </p:cNvPr>
          <p:cNvSpPr/>
          <p:nvPr/>
        </p:nvSpPr>
        <p:spPr>
          <a:xfrm>
            <a:off x="9604231" y="5442218"/>
            <a:ext cx="110221" cy="118872"/>
          </a:xfrm>
          <a:custGeom>
            <a:avLst/>
            <a:gdLst>
              <a:gd name="connsiteX0" fmla="*/ 0 w 110221"/>
              <a:gd name="connsiteY0" fmla="*/ 127242 h 127241"/>
              <a:gd name="connsiteX1" fmla="*/ 110221 w 110221"/>
              <a:gd name="connsiteY1" fmla="*/ 63645 h 127241"/>
              <a:gd name="connsiteX2" fmla="*/ 0 w 110221"/>
              <a:gd name="connsiteY2" fmla="*/ 0 h 127241"/>
              <a:gd name="connsiteX3" fmla="*/ 0 w 110221"/>
              <a:gd name="connsiteY3" fmla="*/ 127242 h 127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221" h="127241">
                <a:moveTo>
                  <a:pt x="0" y="127242"/>
                </a:moveTo>
                <a:lnTo>
                  <a:pt x="110221" y="63645"/>
                </a:lnTo>
                <a:lnTo>
                  <a:pt x="0" y="0"/>
                </a:lnTo>
                <a:lnTo>
                  <a:pt x="0" y="127242"/>
                </a:lnTo>
                <a:close/>
              </a:path>
            </a:pathLst>
          </a:custGeom>
          <a:solidFill>
            <a:srgbClr val="0033A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86" name="Google Shape;606;p2">
            <a:extLst>
              <a:ext uri="{FF2B5EF4-FFF2-40B4-BE49-F238E27FC236}">
                <a16:creationId xmlns:a16="http://schemas.microsoft.com/office/drawing/2014/main" id="{AE554B25-9A2B-EF10-3E4B-3C8088A462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V="1">
            <a:off x="3513908" y="4519876"/>
            <a:ext cx="4566717" cy="264508"/>
          </a:xfrm>
          <a:prstGeom prst="triangle">
            <a:avLst>
              <a:gd name="adj" fmla="val 50000"/>
            </a:avLst>
          </a:prstGeom>
          <a:solidFill>
            <a:srgbClr val="E6EDF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932472" fontAlgn="base">
              <a:spcBef>
                <a:spcPct val="0"/>
              </a:spcBef>
              <a:spcAft>
                <a:spcPct val="0"/>
              </a:spcAft>
            </a:pPr>
            <a:endParaRPr lang="en-US" spc="400">
              <a:ln w="3175">
                <a:noFill/>
              </a:ln>
              <a:gradFill flip="none" rotWithShape="1">
                <a:gsLst>
                  <a:gs pos="0">
                    <a:srgbClr val="8661C5"/>
                  </a:gs>
                  <a:gs pos="80000">
                    <a:srgbClr val="0078D4"/>
                  </a:gs>
                </a:gsLst>
                <a:lin ang="2700000" scaled="1"/>
                <a:tileRect/>
              </a:gradFill>
              <a:latin typeface="Aptos SemiBold" panose="020B0004020202020204" pitchFamily="34" charset="0"/>
              <a:ea typeface="+mj-lt"/>
              <a:cs typeface="Segoe UI Semibold"/>
              <a:sym typeface="Arial"/>
            </a:endParaRPr>
          </a:p>
        </p:txBody>
      </p:sp>
      <p:sp>
        <p:nvSpPr>
          <p:cNvPr id="87" name="Flowchart: Connector 86">
            <a:extLst>
              <a:ext uri="{FF2B5EF4-FFF2-40B4-BE49-F238E27FC236}">
                <a16:creationId xmlns:a16="http://schemas.microsoft.com/office/drawing/2014/main" id="{70E0D85A-34DB-BF51-817C-AE4BF86483FB}"/>
              </a:ext>
            </a:extLst>
          </p:cNvPr>
          <p:cNvSpPr>
            <a:spLocks noChangeAspect="1"/>
          </p:cNvSpPr>
          <p:nvPr/>
        </p:nvSpPr>
        <p:spPr>
          <a:xfrm>
            <a:off x="2015704" y="4988907"/>
            <a:ext cx="504000" cy="504000"/>
          </a:xfrm>
          <a:prstGeom prst="flowChartConnector">
            <a:avLst/>
          </a:prstGeom>
          <a:ln w="9525" cap="flat">
            <a:solidFill>
              <a:schemeClr val="accent3">
                <a:lumMod val="60000"/>
                <a:lumOff val="40000"/>
              </a:schemeClr>
            </a:solidFill>
            <a:prstDash val="sysDash"/>
            <a:miter/>
          </a:ln>
        </p:spPr>
        <p:txBody>
          <a:bodyPr rtlCol="0" anchor="ctr"/>
          <a:lstStyle/>
          <a:p>
            <a:endParaRPr lang="en-IN" sz="1100">
              <a:solidFill>
                <a:schemeClr val="tx2"/>
              </a:solidFill>
            </a:endParaRPr>
          </a:p>
        </p:txBody>
      </p:sp>
      <p:cxnSp>
        <p:nvCxnSpPr>
          <p:cNvPr id="88" name="Straight Arrow Connector 12">
            <a:extLst>
              <a:ext uri="{FF2B5EF4-FFF2-40B4-BE49-F238E27FC236}">
                <a16:creationId xmlns:a16="http://schemas.microsoft.com/office/drawing/2014/main" id="{0AE1CA25-8F85-60CF-C8C0-14A27A303B83}"/>
              </a:ext>
            </a:extLst>
          </p:cNvPr>
          <p:cNvCxnSpPr>
            <a:cxnSpLocks/>
            <a:endCxn id="6" idx="6"/>
          </p:cNvCxnSpPr>
          <p:nvPr/>
        </p:nvCxnSpPr>
        <p:spPr>
          <a:xfrm flipH="1" flipV="1">
            <a:off x="3184252" y="3425541"/>
            <a:ext cx="585564" cy="6350"/>
          </a:xfrm>
          <a:prstGeom prst="straightConnector1">
            <a:avLst/>
          </a:prstGeom>
          <a:ln w="6350" cap="flat" cmpd="sng" algn="ctr">
            <a:solidFill>
              <a:schemeClr val="accent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92" name="Straight Arrow Connector 12">
            <a:extLst>
              <a:ext uri="{FF2B5EF4-FFF2-40B4-BE49-F238E27FC236}">
                <a16:creationId xmlns:a16="http://schemas.microsoft.com/office/drawing/2014/main" id="{B8E2EC4F-476A-E6C9-CB8C-DC798CDCD3E4}"/>
              </a:ext>
            </a:extLst>
          </p:cNvPr>
          <p:cNvCxnSpPr>
            <a:cxnSpLocks/>
            <a:stCxn id="8" idx="2"/>
            <a:endCxn id="7" idx="6"/>
          </p:cNvCxnSpPr>
          <p:nvPr/>
        </p:nvCxnSpPr>
        <p:spPr>
          <a:xfrm flipH="1">
            <a:off x="3985816" y="3425541"/>
            <a:ext cx="587614" cy="0"/>
          </a:xfrm>
          <a:prstGeom prst="straightConnector1">
            <a:avLst/>
          </a:prstGeom>
          <a:ln w="6350" cap="flat" cmpd="sng" algn="ctr">
            <a:solidFill>
              <a:schemeClr val="accent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95" name="Straight Arrow Connector 12">
            <a:extLst>
              <a:ext uri="{FF2B5EF4-FFF2-40B4-BE49-F238E27FC236}">
                <a16:creationId xmlns:a16="http://schemas.microsoft.com/office/drawing/2014/main" id="{4D00F707-F334-4E20-DD86-859E962F5D4D}"/>
              </a:ext>
            </a:extLst>
          </p:cNvPr>
          <p:cNvCxnSpPr>
            <a:cxnSpLocks/>
            <a:stCxn id="9" idx="2"/>
            <a:endCxn id="8" idx="6"/>
          </p:cNvCxnSpPr>
          <p:nvPr/>
        </p:nvCxnSpPr>
        <p:spPr>
          <a:xfrm flipH="1">
            <a:off x="4789430" y="3425541"/>
            <a:ext cx="583514" cy="0"/>
          </a:xfrm>
          <a:prstGeom prst="straightConnector1">
            <a:avLst/>
          </a:prstGeom>
          <a:ln w="6350" cap="flat" cmpd="sng" algn="ctr">
            <a:solidFill>
              <a:schemeClr val="accent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98" name="Straight Arrow Connector 12">
            <a:extLst>
              <a:ext uri="{FF2B5EF4-FFF2-40B4-BE49-F238E27FC236}">
                <a16:creationId xmlns:a16="http://schemas.microsoft.com/office/drawing/2014/main" id="{F534FC96-FD97-CEAB-A0C0-43A53A62E9CC}"/>
              </a:ext>
            </a:extLst>
          </p:cNvPr>
          <p:cNvCxnSpPr>
            <a:cxnSpLocks/>
            <a:stCxn id="10" idx="2"/>
            <a:endCxn id="9" idx="6"/>
          </p:cNvCxnSpPr>
          <p:nvPr/>
        </p:nvCxnSpPr>
        <p:spPr>
          <a:xfrm flipH="1">
            <a:off x="5588944" y="3425541"/>
            <a:ext cx="585565" cy="0"/>
          </a:xfrm>
          <a:prstGeom prst="straightConnector1">
            <a:avLst/>
          </a:prstGeom>
          <a:ln w="6350" cap="flat" cmpd="sng" algn="ctr">
            <a:solidFill>
              <a:schemeClr val="accent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10" name="Flowchart: Connector 109">
            <a:extLst>
              <a:ext uri="{FF2B5EF4-FFF2-40B4-BE49-F238E27FC236}">
                <a16:creationId xmlns:a16="http://schemas.microsoft.com/office/drawing/2014/main" id="{ED8C5B3A-28C8-9F58-849E-7BF721C1058C}"/>
              </a:ext>
            </a:extLst>
          </p:cNvPr>
          <p:cNvSpPr/>
          <p:nvPr/>
        </p:nvSpPr>
        <p:spPr>
          <a:xfrm>
            <a:off x="6228683" y="3509383"/>
            <a:ext cx="540000" cy="540000"/>
          </a:xfrm>
          <a:prstGeom prst="flowChartConnector">
            <a:avLst/>
          </a:prstGeom>
          <a:solidFill>
            <a:schemeClr val="bg1"/>
          </a:solidFill>
          <a:ln w="3175">
            <a:prstDash val="lgDash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43B5C6C6-1BDF-9968-8487-48228BEBDACA}"/>
              </a:ext>
            </a:extLst>
          </p:cNvPr>
          <p:cNvSpPr txBox="1"/>
          <p:nvPr/>
        </p:nvSpPr>
        <p:spPr>
          <a:xfrm>
            <a:off x="3285302" y="2980186"/>
            <a:ext cx="2837196" cy="208903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spAutoFit/>
          </a:bodyPr>
          <a:lstStyle/>
          <a:p>
            <a:pPr marL="12700" marR="5080" algn="ctr">
              <a:lnSpc>
                <a:spcPct val="100600"/>
              </a:lnSpc>
            </a:pPr>
            <a:r>
              <a:rPr lang="en-US" sz="8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ter-agent handoff with data and artifacts</a:t>
            </a:r>
          </a:p>
        </p:txBody>
      </p:sp>
      <p:grpSp>
        <p:nvGrpSpPr>
          <p:cNvPr id="102" name="Graphic 94">
            <a:extLst>
              <a:ext uri="{FF2B5EF4-FFF2-40B4-BE49-F238E27FC236}">
                <a16:creationId xmlns:a16="http://schemas.microsoft.com/office/drawing/2014/main" id="{B9394140-5A2F-5E9F-38E1-2E9C5BA2C22C}"/>
              </a:ext>
            </a:extLst>
          </p:cNvPr>
          <p:cNvGrpSpPr>
            <a:grpSpLocks noChangeAspect="1"/>
          </p:cNvGrpSpPr>
          <p:nvPr/>
        </p:nvGrpSpPr>
        <p:grpSpPr>
          <a:xfrm>
            <a:off x="6393275" y="3685885"/>
            <a:ext cx="235771" cy="217100"/>
            <a:chOff x="1826028" y="2083685"/>
            <a:chExt cx="819149" cy="820009"/>
          </a:xfrm>
          <a:solidFill>
            <a:schemeClr val="bg1"/>
          </a:solidFill>
        </p:grpSpPr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94D2C1F6-98D8-BBC3-ECB4-08CECBE57DFF}"/>
                </a:ext>
              </a:extLst>
            </p:cNvPr>
            <p:cNvSpPr/>
            <p:nvPr/>
          </p:nvSpPr>
          <p:spPr>
            <a:xfrm>
              <a:off x="1826028" y="2274758"/>
              <a:ext cx="322326" cy="220122"/>
            </a:xfrm>
            <a:custGeom>
              <a:avLst/>
              <a:gdLst>
                <a:gd name="connsiteX0" fmla="*/ 221837 w 322326"/>
                <a:gd name="connsiteY0" fmla="*/ 220123 h 220122"/>
                <a:gd name="connsiteX1" fmla="*/ 0 w 322326"/>
                <a:gd name="connsiteY1" fmla="*/ 220123 h 220122"/>
                <a:gd name="connsiteX2" fmla="*/ 0 w 322326"/>
                <a:gd name="connsiteY2" fmla="*/ 192786 h 220122"/>
                <a:gd name="connsiteX3" fmla="*/ 151543 w 322326"/>
                <a:gd name="connsiteY3" fmla="*/ 0 h 220122"/>
                <a:gd name="connsiteX4" fmla="*/ 258890 w 322326"/>
                <a:gd name="connsiteY4" fmla="*/ 0 h 220122"/>
                <a:gd name="connsiteX5" fmla="*/ 322326 w 322326"/>
                <a:gd name="connsiteY5" fmla="*/ 27908 h 220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2326" h="220122">
                  <a:moveTo>
                    <a:pt x="221837" y="220123"/>
                  </a:moveTo>
                  <a:lnTo>
                    <a:pt x="0" y="220123"/>
                  </a:lnTo>
                  <a:lnTo>
                    <a:pt x="0" y="192786"/>
                  </a:lnTo>
                  <a:cubicBezTo>
                    <a:pt x="209" y="101335"/>
                    <a:pt x="62728" y="21801"/>
                    <a:pt x="151543" y="0"/>
                  </a:cubicBezTo>
                  <a:cubicBezTo>
                    <a:pt x="185022" y="18157"/>
                    <a:pt x="225411" y="18157"/>
                    <a:pt x="258890" y="0"/>
                  </a:cubicBezTo>
                  <a:cubicBezTo>
                    <a:pt x="281512" y="5500"/>
                    <a:pt x="302986" y="14947"/>
                    <a:pt x="322326" y="27908"/>
                  </a:cubicBezTo>
                </a:path>
              </a:pathLst>
            </a:custGeom>
            <a:grpFill/>
            <a:ln w="3175" cap="flat">
              <a:solidFill>
                <a:srgbClr val="32AD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2400">
                <a:solidFill>
                  <a:srgbClr val="FFFFFF"/>
                </a:solidFill>
                <a:latin typeface="Amazon Ember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27A4F4BA-FBC7-AE5C-079D-6DE70E32096A}"/>
                </a:ext>
              </a:extLst>
            </p:cNvPr>
            <p:cNvSpPr/>
            <p:nvPr/>
          </p:nvSpPr>
          <p:spPr>
            <a:xfrm>
              <a:off x="1928831" y="2083685"/>
              <a:ext cx="204253" cy="204127"/>
            </a:xfrm>
            <a:custGeom>
              <a:avLst/>
              <a:gdLst>
                <a:gd name="connsiteX0" fmla="*/ 151419 w 204253"/>
                <a:gd name="connsiteY0" fmla="*/ 191549 h 204127"/>
                <a:gd name="connsiteX1" fmla="*/ 191549 w 204253"/>
                <a:gd name="connsiteY1" fmla="*/ 52835 h 204127"/>
                <a:gd name="connsiteX2" fmla="*/ 52835 w 204253"/>
                <a:gd name="connsiteY2" fmla="*/ 12705 h 204127"/>
                <a:gd name="connsiteX3" fmla="*/ 12705 w 204253"/>
                <a:gd name="connsiteY3" fmla="*/ 151419 h 204127"/>
                <a:gd name="connsiteX4" fmla="*/ 52835 w 204253"/>
                <a:gd name="connsiteY4" fmla="*/ 191549 h 204127"/>
                <a:gd name="connsiteX5" fmla="*/ 151419 w 204253"/>
                <a:gd name="connsiteY5" fmla="*/ 191549 h 204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253" h="204127">
                  <a:moveTo>
                    <a:pt x="151419" y="191549"/>
                  </a:moveTo>
                  <a:cubicBezTo>
                    <a:pt x="200805" y="164326"/>
                    <a:pt x="218772" y="102222"/>
                    <a:pt x="191549" y="52835"/>
                  </a:cubicBezTo>
                  <a:cubicBezTo>
                    <a:pt x="164326" y="3448"/>
                    <a:pt x="102222" y="-14519"/>
                    <a:pt x="52835" y="12705"/>
                  </a:cubicBezTo>
                  <a:cubicBezTo>
                    <a:pt x="3448" y="39928"/>
                    <a:pt x="-14519" y="102032"/>
                    <a:pt x="12705" y="151419"/>
                  </a:cubicBezTo>
                  <a:cubicBezTo>
                    <a:pt x="22020" y="168319"/>
                    <a:pt x="35935" y="182233"/>
                    <a:pt x="52835" y="191549"/>
                  </a:cubicBezTo>
                  <a:cubicBezTo>
                    <a:pt x="83556" y="208321"/>
                    <a:pt x="120697" y="208321"/>
                    <a:pt x="151419" y="191549"/>
                  </a:cubicBezTo>
                </a:path>
              </a:pathLst>
            </a:custGeom>
            <a:grpFill/>
            <a:ln w="3175" cap="flat">
              <a:solidFill>
                <a:srgbClr val="32AD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2400">
                <a:solidFill>
                  <a:srgbClr val="FFFFFF"/>
                </a:solidFill>
                <a:latin typeface="Amazon Ember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25D9BE0C-8572-7F95-4040-8D4FCFD8DDD9}"/>
                </a:ext>
              </a:extLst>
            </p:cNvPr>
            <p:cNvSpPr/>
            <p:nvPr/>
          </p:nvSpPr>
          <p:spPr>
            <a:xfrm>
              <a:off x="2321804" y="2274853"/>
              <a:ext cx="323373" cy="220122"/>
            </a:xfrm>
            <a:custGeom>
              <a:avLst/>
              <a:gdLst>
                <a:gd name="connsiteX0" fmla="*/ 0 w 323373"/>
                <a:gd name="connsiteY0" fmla="*/ 28575 h 220122"/>
                <a:gd name="connsiteX1" fmla="*/ 64103 w 323373"/>
                <a:gd name="connsiteY1" fmla="*/ 0 h 220122"/>
                <a:gd name="connsiteX2" fmla="*/ 171641 w 323373"/>
                <a:gd name="connsiteY2" fmla="*/ 0 h 220122"/>
                <a:gd name="connsiteX3" fmla="*/ 323374 w 323373"/>
                <a:gd name="connsiteY3" fmla="*/ 192786 h 220122"/>
                <a:gd name="connsiteX4" fmla="*/ 323374 w 323373"/>
                <a:gd name="connsiteY4" fmla="*/ 220123 h 220122"/>
                <a:gd name="connsiteX5" fmla="*/ 101917 w 323373"/>
                <a:gd name="connsiteY5" fmla="*/ 220123 h 220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3373" h="220122">
                  <a:moveTo>
                    <a:pt x="0" y="28575"/>
                  </a:moveTo>
                  <a:cubicBezTo>
                    <a:pt x="19430" y="15191"/>
                    <a:pt x="41161" y="5504"/>
                    <a:pt x="64103" y="0"/>
                  </a:cubicBezTo>
                  <a:cubicBezTo>
                    <a:pt x="97650" y="18156"/>
                    <a:pt x="138094" y="18156"/>
                    <a:pt x="171641" y="0"/>
                  </a:cubicBezTo>
                  <a:cubicBezTo>
                    <a:pt x="260551" y="21696"/>
                    <a:pt x="323178" y="101267"/>
                    <a:pt x="323374" y="192786"/>
                  </a:cubicBezTo>
                  <a:lnTo>
                    <a:pt x="323374" y="220123"/>
                  </a:lnTo>
                  <a:lnTo>
                    <a:pt x="101917" y="220123"/>
                  </a:lnTo>
                </a:path>
              </a:pathLst>
            </a:custGeom>
            <a:grpFill/>
            <a:ln w="3175" cap="flat">
              <a:solidFill>
                <a:srgbClr val="32AD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2400">
                <a:solidFill>
                  <a:srgbClr val="FFFFFF"/>
                </a:solidFill>
                <a:latin typeface="Amazon Ember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D8FD44F9-AA66-B36D-DA59-09680325F5CB}"/>
                </a:ext>
              </a:extLst>
            </p:cNvPr>
            <p:cNvSpPr/>
            <p:nvPr/>
          </p:nvSpPr>
          <p:spPr>
            <a:xfrm>
              <a:off x="2337311" y="2083712"/>
              <a:ext cx="204253" cy="204100"/>
            </a:xfrm>
            <a:custGeom>
              <a:avLst/>
              <a:gdLst>
                <a:gd name="connsiteX0" fmla="*/ 151466 w 204253"/>
                <a:gd name="connsiteY0" fmla="*/ 191523 h 204100"/>
                <a:gd name="connsiteX1" fmla="*/ 191523 w 204253"/>
                <a:gd name="connsiteY1" fmla="*/ 52787 h 204100"/>
                <a:gd name="connsiteX2" fmla="*/ 52787 w 204253"/>
                <a:gd name="connsiteY2" fmla="*/ 12731 h 204100"/>
                <a:gd name="connsiteX3" fmla="*/ 12731 w 204253"/>
                <a:gd name="connsiteY3" fmla="*/ 151466 h 204100"/>
                <a:gd name="connsiteX4" fmla="*/ 52787 w 204253"/>
                <a:gd name="connsiteY4" fmla="*/ 191523 h 204100"/>
                <a:gd name="connsiteX5" fmla="*/ 151466 w 204253"/>
                <a:gd name="connsiteY5" fmla="*/ 191523 h 20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253" h="204100">
                  <a:moveTo>
                    <a:pt x="151466" y="191523"/>
                  </a:moveTo>
                  <a:cubicBezTo>
                    <a:pt x="200838" y="164273"/>
                    <a:pt x="218772" y="102159"/>
                    <a:pt x="191523" y="52787"/>
                  </a:cubicBezTo>
                  <a:cubicBezTo>
                    <a:pt x="164273" y="3415"/>
                    <a:pt x="102159" y="-14519"/>
                    <a:pt x="52787" y="12731"/>
                  </a:cubicBezTo>
                  <a:cubicBezTo>
                    <a:pt x="3415" y="39980"/>
                    <a:pt x="-14519" y="102094"/>
                    <a:pt x="12731" y="151466"/>
                  </a:cubicBezTo>
                  <a:cubicBezTo>
                    <a:pt x="22038" y="168329"/>
                    <a:pt x="35924" y="182216"/>
                    <a:pt x="52787" y="191523"/>
                  </a:cubicBezTo>
                  <a:cubicBezTo>
                    <a:pt x="83543" y="208294"/>
                    <a:pt x="120711" y="208294"/>
                    <a:pt x="151466" y="191523"/>
                  </a:cubicBezTo>
                </a:path>
              </a:pathLst>
            </a:custGeom>
            <a:grpFill/>
            <a:ln w="3175" cap="flat">
              <a:solidFill>
                <a:srgbClr val="32AD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2400">
                <a:solidFill>
                  <a:srgbClr val="FFFFFF"/>
                </a:solidFill>
                <a:latin typeface="Amazon Ember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65A5C4E1-1D00-62CC-4353-647BC28F58C0}"/>
                </a:ext>
              </a:extLst>
            </p:cNvPr>
            <p:cNvSpPr/>
            <p:nvPr/>
          </p:nvSpPr>
          <p:spPr>
            <a:xfrm>
              <a:off x="1944709" y="2592703"/>
              <a:ext cx="581025" cy="310991"/>
            </a:xfrm>
            <a:custGeom>
              <a:avLst/>
              <a:gdLst>
                <a:gd name="connsiteX0" fmla="*/ 581025 w 581025"/>
                <a:gd name="connsiteY0" fmla="*/ 272891 h 310991"/>
                <a:gd name="connsiteX1" fmla="*/ 581025 w 581025"/>
                <a:gd name="connsiteY1" fmla="*/ 310991 h 310991"/>
                <a:gd name="connsiteX2" fmla="*/ 0 w 581025"/>
                <a:gd name="connsiteY2" fmla="*/ 310991 h 310991"/>
                <a:gd name="connsiteX3" fmla="*/ 0 w 581025"/>
                <a:gd name="connsiteY3" fmla="*/ 272891 h 310991"/>
                <a:gd name="connsiteX4" fmla="*/ 214122 w 581025"/>
                <a:gd name="connsiteY4" fmla="*/ 0 h 310991"/>
                <a:gd name="connsiteX5" fmla="*/ 366522 w 581025"/>
                <a:gd name="connsiteY5" fmla="*/ 0 h 310991"/>
                <a:gd name="connsiteX6" fmla="*/ 581025 w 581025"/>
                <a:gd name="connsiteY6" fmla="*/ 272891 h 310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1025" h="310991">
                  <a:moveTo>
                    <a:pt x="581025" y="272891"/>
                  </a:moveTo>
                  <a:lnTo>
                    <a:pt x="581025" y="310991"/>
                  </a:lnTo>
                  <a:lnTo>
                    <a:pt x="0" y="310991"/>
                  </a:lnTo>
                  <a:lnTo>
                    <a:pt x="0" y="272891"/>
                  </a:lnTo>
                  <a:cubicBezTo>
                    <a:pt x="217" y="143542"/>
                    <a:pt x="88538" y="30981"/>
                    <a:pt x="214122" y="0"/>
                  </a:cubicBezTo>
                  <a:cubicBezTo>
                    <a:pt x="261656" y="25761"/>
                    <a:pt x="318988" y="25761"/>
                    <a:pt x="366522" y="0"/>
                  </a:cubicBezTo>
                  <a:cubicBezTo>
                    <a:pt x="492258" y="30832"/>
                    <a:pt x="580765" y="143431"/>
                    <a:pt x="581025" y="272891"/>
                  </a:cubicBezTo>
                  <a:close/>
                </a:path>
              </a:pathLst>
            </a:custGeom>
            <a:grpFill/>
            <a:ln w="3175" cap="flat">
              <a:solidFill>
                <a:srgbClr val="32AD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2400">
                <a:solidFill>
                  <a:srgbClr val="FFFFFF"/>
                </a:solidFill>
                <a:latin typeface="Amazon Ember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DD238892-F316-3813-54FE-508A0F8B33F0}"/>
                </a:ext>
              </a:extLst>
            </p:cNvPr>
            <p:cNvSpPr/>
            <p:nvPr/>
          </p:nvSpPr>
          <p:spPr>
            <a:xfrm>
              <a:off x="2089939" y="2322246"/>
              <a:ext cx="289041" cy="288841"/>
            </a:xfrm>
            <a:custGeom>
              <a:avLst/>
              <a:gdLst>
                <a:gd name="connsiteX0" fmla="*/ 214339 w 289041"/>
                <a:gd name="connsiteY0" fmla="*/ 271028 h 288841"/>
                <a:gd name="connsiteX1" fmla="*/ 271028 w 289041"/>
                <a:gd name="connsiteY1" fmla="*/ 74703 h 288841"/>
                <a:gd name="connsiteX2" fmla="*/ 74703 w 289041"/>
                <a:gd name="connsiteY2" fmla="*/ 18014 h 288841"/>
                <a:gd name="connsiteX3" fmla="*/ 18014 w 289041"/>
                <a:gd name="connsiteY3" fmla="*/ 214339 h 288841"/>
                <a:gd name="connsiteX4" fmla="*/ 74703 w 289041"/>
                <a:gd name="connsiteY4" fmla="*/ 271028 h 288841"/>
                <a:gd name="connsiteX5" fmla="*/ 214339 w 289041"/>
                <a:gd name="connsiteY5" fmla="*/ 271028 h 288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9041" h="288841">
                  <a:moveTo>
                    <a:pt x="214339" y="271028"/>
                  </a:moveTo>
                  <a:cubicBezTo>
                    <a:pt x="284207" y="232468"/>
                    <a:pt x="309587" y="144571"/>
                    <a:pt x="271028" y="74703"/>
                  </a:cubicBezTo>
                  <a:cubicBezTo>
                    <a:pt x="232468" y="4835"/>
                    <a:pt x="144571" y="-20546"/>
                    <a:pt x="74703" y="18014"/>
                  </a:cubicBezTo>
                  <a:cubicBezTo>
                    <a:pt x="4835" y="56574"/>
                    <a:pt x="-20546" y="144471"/>
                    <a:pt x="18014" y="214339"/>
                  </a:cubicBezTo>
                  <a:cubicBezTo>
                    <a:pt x="31185" y="238204"/>
                    <a:pt x="50838" y="257857"/>
                    <a:pt x="74703" y="271028"/>
                  </a:cubicBezTo>
                  <a:cubicBezTo>
                    <a:pt x="118218" y="294779"/>
                    <a:pt x="170824" y="294779"/>
                    <a:pt x="214339" y="271028"/>
                  </a:cubicBezTo>
                </a:path>
              </a:pathLst>
            </a:custGeom>
            <a:grpFill/>
            <a:ln w="3175" cap="flat">
              <a:solidFill>
                <a:srgbClr val="32AD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2400">
                <a:solidFill>
                  <a:srgbClr val="FFFFFF"/>
                </a:solidFill>
                <a:latin typeface="Amazon Ember"/>
              </a:endParaRPr>
            </a:p>
          </p:txBody>
        </p:sp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id="{41F41B89-FDBC-2CB4-E44E-66BA814502D0}"/>
              </a:ext>
            </a:extLst>
          </p:cNvPr>
          <p:cNvSpPr txBox="1"/>
          <p:nvPr/>
        </p:nvSpPr>
        <p:spPr>
          <a:xfrm>
            <a:off x="6692244" y="3694323"/>
            <a:ext cx="1266900" cy="428322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>
            <a:defPPr>
              <a:defRPr lang="en-US"/>
            </a:defPPr>
            <a:lvl1pPr marL="12700">
              <a:spcBef>
                <a:spcPts val="120"/>
              </a:spcBef>
              <a:defRPr sz="1000" spc="5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defRPr>
            </a:lvl1pPr>
          </a:lstStyle>
          <a:p>
            <a:pPr algn="ctr"/>
            <a:r>
              <a:rPr lang="en-US" dirty="0"/>
              <a:t>Human in loop</a:t>
            </a:r>
          </a:p>
          <a:p>
            <a:pPr algn="ctr"/>
            <a:r>
              <a:rPr lang="en-US" sz="8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view / Approval / Feedback</a:t>
            </a:r>
          </a:p>
        </p:txBody>
      </p:sp>
      <p:sp>
        <p:nvSpPr>
          <p:cNvPr id="112" name="Flowchart: Connector 111">
            <a:extLst>
              <a:ext uri="{FF2B5EF4-FFF2-40B4-BE49-F238E27FC236}">
                <a16:creationId xmlns:a16="http://schemas.microsoft.com/office/drawing/2014/main" id="{C9888D38-493D-9322-22BA-85BD9E0885B8}"/>
              </a:ext>
            </a:extLst>
          </p:cNvPr>
          <p:cNvSpPr>
            <a:spLocks noChangeAspect="1"/>
          </p:cNvSpPr>
          <p:nvPr/>
        </p:nvSpPr>
        <p:spPr>
          <a:xfrm>
            <a:off x="3703860" y="4991134"/>
            <a:ext cx="504000" cy="504000"/>
          </a:xfrm>
          <a:prstGeom prst="flowChartConnector">
            <a:avLst/>
          </a:prstGeom>
          <a:ln w="9525" cap="flat">
            <a:solidFill>
              <a:schemeClr val="accent3">
                <a:lumMod val="60000"/>
                <a:lumOff val="40000"/>
              </a:schemeClr>
            </a:solidFill>
            <a:prstDash val="sysDash"/>
            <a:miter/>
          </a:ln>
        </p:spPr>
        <p:txBody>
          <a:bodyPr rtlCol="0" anchor="ctr"/>
          <a:lstStyle/>
          <a:p>
            <a:endParaRPr lang="en-IN" sz="1100">
              <a:solidFill>
                <a:schemeClr val="tx2"/>
              </a:solidFill>
            </a:endParaRPr>
          </a:p>
        </p:txBody>
      </p:sp>
      <p:sp>
        <p:nvSpPr>
          <p:cNvPr id="113" name="Flowchart: Connector 112">
            <a:extLst>
              <a:ext uri="{FF2B5EF4-FFF2-40B4-BE49-F238E27FC236}">
                <a16:creationId xmlns:a16="http://schemas.microsoft.com/office/drawing/2014/main" id="{5FC4405B-817E-F683-12C3-9CC315230CDC}"/>
              </a:ext>
            </a:extLst>
          </p:cNvPr>
          <p:cNvSpPr>
            <a:spLocks noChangeAspect="1"/>
          </p:cNvSpPr>
          <p:nvPr/>
        </p:nvSpPr>
        <p:spPr>
          <a:xfrm>
            <a:off x="5392016" y="4988174"/>
            <a:ext cx="504000" cy="504000"/>
          </a:xfrm>
          <a:prstGeom prst="flowChartConnector">
            <a:avLst/>
          </a:prstGeom>
          <a:ln w="9525" cap="flat">
            <a:solidFill>
              <a:schemeClr val="accent3">
                <a:lumMod val="60000"/>
                <a:lumOff val="40000"/>
              </a:schemeClr>
            </a:solidFill>
            <a:prstDash val="sysDash"/>
            <a:miter/>
          </a:ln>
        </p:spPr>
        <p:txBody>
          <a:bodyPr rtlCol="0" anchor="ctr"/>
          <a:lstStyle/>
          <a:p>
            <a:endParaRPr lang="en-IN" sz="1100">
              <a:solidFill>
                <a:schemeClr val="tx2"/>
              </a:solidFill>
            </a:endParaRPr>
          </a:p>
        </p:txBody>
      </p:sp>
      <p:sp>
        <p:nvSpPr>
          <p:cNvPr id="114" name="Flowchart: Connector 113">
            <a:extLst>
              <a:ext uri="{FF2B5EF4-FFF2-40B4-BE49-F238E27FC236}">
                <a16:creationId xmlns:a16="http://schemas.microsoft.com/office/drawing/2014/main" id="{EB5BF8CB-A5FC-0BF3-3F91-AC75FBAA7519}"/>
              </a:ext>
            </a:extLst>
          </p:cNvPr>
          <p:cNvSpPr>
            <a:spLocks noChangeAspect="1"/>
          </p:cNvSpPr>
          <p:nvPr/>
        </p:nvSpPr>
        <p:spPr>
          <a:xfrm>
            <a:off x="7080172" y="4990401"/>
            <a:ext cx="504000" cy="504000"/>
          </a:xfrm>
          <a:prstGeom prst="flowChartConnector">
            <a:avLst/>
          </a:prstGeom>
          <a:ln w="9525" cap="flat">
            <a:solidFill>
              <a:schemeClr val="accent3">
                <a:lumMod val="60000"/>
                <a:lumOff val="40000"/>
              </a:schemeClr>
            </a:solidFill>
            <a:prstDash val="sysDash"/>
            <a:miter/>
          </a:ln>
        </p:spPr>
        <p:txBody>
          <a:bodyPr rtlCol="0" anchor="ctr"/>
          <a:lstStyle/>
          <a:p>
            <a:endParaRPr lang="en-IN" sz="1100">
              <a:solidFill>
                <a:schemeClr val="tx2"/>
              </a:solidFill>
            </a:endParaRPr>
          </a:p>
        </p:txBody>
      </p:sp>
      <p:sp>
        <p:nvSpPr>
          <p:cNvPr id="115" name="Flowchart: Connector 114">
            <a:extLst>
              <a:ext uri="{FF2B5EF4-FFF2-40B4-BE49-F238E27FC236}">
                <a16:creationId xmlns:a16="http://schemas.microsoft.com/office/drawing/2014/main" id="{D59C18E1-D22D-3D09-6B0C-E427C460816E}"/>
              </a:ext>
            </a:extLst>
          </p:cNvPr>
          <p:cNvSpPr>
            <a:spLocks noChangeAspect="1"/>
          </p:cNvSpPr>
          <p:nvPr/>
        </p:nvSpPr>
        <p:spPr>
          <a:xfrm>
            <a:off x="8768328" y="4993017"/>
            <a:ext cx="504000" cy="504000"/>
          </a:xfrm>
          <a:prstGeom prst="flowChartConnector">
            <a:avLst/>
          </a:prstGeom>
          <a:ln w="9525" cap="flat">
            <a:solidFill>
              <a:schemeClr val="accent3">
                <a:lumMod val="60000"/>
                <a:lumOff val="40000"/>
              </a:schemeClr>
            </a:solidFill>
            <a:prstDash val="sysDash"/>
            <a:miter/>
          </a:ln>
        </p:spPr>
        <p:txBody>
          <a:bodyPr rtlCol="0" anchor="ctr"/>
          <a:lstStyle/>
          <a:p>
            <a:endParaRPr lang="en-IN" sz="1100">
              <a:solidFill>
                <a:schemeClr val="tx2"/>
              </a:solidFill>
            </a:endParaRPr>
          </a:p>
        </p:txBody>
      </p:sp>
      <p:sp>
        <p:nvSpPr>
          <p:cNvPr id="116" name="Flowchart: Connector 115">
            <a:extLst>
              <a:ext uri="{FF2B5EF4-FFF2-40B4-BE49-F238E27FC236}">
                <a16:creationId xmlns:a16="http://schemas.microsoft.com/office/drawing/2014/main" id="{3DC59F5F-0BA9-DA7C-19D0-A97650088C7F}"/>
              </a:ext>
            </a:extLst>
          </p:cNvPr>
          <p:cNvSpPr>
            <a:spLocks noChangeAspect="1"/>
          </p:cNvSpPr>
          <p:nvPr/>
        </p:nvSpPr>
        <p:spPr>
          <a:xfrm>
            <a:off x="10456483" y="4995244"/>
            <a:ext cx="504000" cy="504000"/>
          </a:xfrm>
          <a:prstGeom prst="flowChartConnector">
            <a:avLst/>
          </a:prstGeom>
          <a:ln w="9525" cap="flat">
            <a:solidFill>
              <a:schemeClr val="accent3">
                <a:lumMod val="60000"/>
                <a:lumOff val="40000"/>
              </a:schemeClr>
            </a:solidFill>
            <a:prstDash val="sysDash"/>
            <a:miter/>
          </a:ln>
        </p:spPr>
        <p:txBody>
          <a:bodyPr rtlCol="0" anchor="ctr"/>
          <a:lstStyle/>
          <a:p>
            <a:endParaRPr lang="en-IN" sz="1100">
              <a:solidFill>
                <a:schemeClr val="tx2"/>
              </a:solidFill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A780DB62-432F-6BB9-9A3F-5FC2CA4725B1}"/>
              </a:ext>
            </a:extLst>
          </p:cNvPr>
          <p:cNvSpPr txBox="1"/>
          <p:nvPr/>
        </p:nvSpPr>
        <p:spPr>
          <a:xfrm>
            <a:off x="8636601" y="5655988"/>
            <a:ext cx="1116000" cy="3633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algn="ctr">
              <a:lnSpc>
                <a:spcPct val="100600"/>
              </a:lnSpc>
            </a:pPr>
            <a:r>
              <a:rPr lang="en-US" sz="9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eedback Loops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633DC29A-CBB8-8121-4CBE-9F05A6FBE8D9}"/>
              </a:ext>
            </a:extLst>
          </p:cNvPr>
          <p:cNvSpPr txBox="1"/>
          <p:nvPr/>
        </p:nvSpPr>
        <p:spPr>
          <a:xfrm>
            <a:off x="1795958" y="5692432"/>
            <a:ext cx="1116000" cy="3633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algn="ctr">
              <a:lnSpc>
                <a:spcPct val="100600"/>
              </a:lnSpc>
            </a:pPr>
            <a:r>
              <a:rPr lang="en-US" sz="9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eedback Loops</a:t>
            </a: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1055C934-3937-7731-1561-91B15A31A4B7}"/>
              </a:ext>
            </a:extLst>
          </p:cNvPr>
          <p:cNvGrpSpPr/>
          <p:nvPr/>
        </p:nvGrpSpPr>
        <p:grpSpPr>
          <a:xfrm>
            <a:off x="851387" y="3508960"/>
            <a:ext cx="364871" cy="450924"/>
            <a:chOff x="6775540" y="5624492"/>
            <a:chExt cx="364871" cy="450924"/>
          </a:xfrm>
        </p:grpSpPr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77A4ACEB-8B3F-7469-DC36-1D4BF46C2700}"/>
                </a:ext>
              </a:extLst>
            </p:cNvPr>
            <p:cNvSpPr/>
            <p:nvPr/>
          </p:nvSpPr>
          <p:spPr>
            <a:xfrm>
              <a:off x="6775540" y="5624492"/>
              <a:ext cx="364871" cy="450924"/>
            </a:xfrm>
            <a:custGeom>
              <a:avLst/>
              <a:gdLst>
                <a:gd name="connsiteX0" fmla="*/ 145846 w 289507"/>
                <a:gd name="connsiteY0" fmla="*/ 4097 h 357787"/>
                <a:gd name="connsiteX1" fmla="*/ 4097 w 289507"/>
                <a:gd name="connsiteY1" fmla="*/ 55717 h 357787"/>
                <a:gd name="connsiteX2" fmla="*/ 4097 w 289507"/>
                <a:gd name="connsiteY2" fmla="*/ 161687 h 357787"/>
                <a:gd name="connsiteX3" fmla="*/ 4097 w 289507"/>
                <a:gd name="connsiteY3" fmla="*/ 257826 h 357787"/>
                <a:gd name="connsiteX4" fmla="*/ 4097 w 289507"/>
                <a:gd name="connsiteY4" fmla="*/ 304529 h 357787"/>
                <a:gd name="connsiteX5" fmla="*/ 81390 w 289507"/>
                <a:gd name="connsiteY5" fmla="*/ 350960 h 357787"/>
                <a:gd name="connsiteX6" fmla="*/ 115803 w 289507"/>
                <a:gd name="connsiteY6" fmla="*/ 355057 h 357787"/>
                <a:gd name="connsiteX7" fmla="*/ 130552 w 289507"/>
                <a:gd name="connsiteY7" fmla="*/ 355876 h 357787"/>
                <a:gd name="connsiteX8" fmla="*/ 145846 w 289507"/>
                <a:gd name="connsiteY8" fmla="*/ 356149 h 357787"/>
                <a:gd name="connsiteX9" fmla="*/ 145846 w 289507"/>
                <a:gd name="connsiteY9" fmla="*/ 356149 h 357787"/>
                <a:gd name="connsiteX10" fmla="*/ 145846 w 289507"/>
                <a:gd name="connsiteY10" fmla="*/ 356149 h 357787"/>
                <a:gd name="connsiteX11" fmla="*/ 161141 w 289507"/>
                <a:gd name="connsiteY11" fmla="*/ 355876 h 357787"/>
                <a:gd name="connsiteX12" fmla="*/ 175890 w 289507"/>
                <a:gd name="connsiteY12" fmla="*/ 355057 h 357787"/>
                <a:gd name="connsiteX13" fmla="*/ 210303 w 289507"/>
                <a:gd name="connsiteY13" fmla="*/ 350960 h 357787"/>
                <a:gd name="connsiteX14" fmla="*/ 287596 w 289507"/>
                <a:gd name="connsiteY14" fmla="*/ 304529 h 357787"/>
                <a:gd name="connsiteX15" fmla="*/ 287596 w 289507"/>
                <a:gd name="connsiteY15" fmla="*/ 256460 h 357787"/>
                <a:gd name="connsiteX16" fmla="*/ 287596 w 289507"/>
                <a:gd name="connsiteY16" fmla="*/ 160322 h 357787"/>
                <a:gd name="connsiteX17" fmla="*/ 287596 w 289507"/>
                <a:gd name="connsiteY17" fmla="*/ 135468 h 357787"/>
                <a:gd name="connsiteX18" fmla="*/ 287596 w 289507"/>
                <a:gd name="connsiteY18" fmla="*/ 55717 h 357787"/>
                <a:gd name="connsiteX19" fmla="*/ 145846 w 289507"/>
                <a:gd name="connsiteY19" fmla="*/ 4097 h 357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507" h="357787">
                  <a:moveTo>
                    <a:pt x="145846" y="4097"/>
                  </a:moveTo>
                  <a:cubicBezTo>
                    <a:pt x="63910" y="4097"/>
                    <a:pt x="4097" y="27312"/>
                    <a:pt x="4097" y="55717"/>
                  </a:cubicBezTo>
                  <a:lnTo>
                    <a:pt x="4097" y="161687"/>
                  </a:lnTo>
                  <a:lnTo>
                    <a:pt x="4097" y="257826"/>
                  </a:lnTo>
                  <a:lnTo>
                    <a:pt x="4097" y="304529"/>
                  </a:lnTo>
                  <a:cubicBezTo>
                    <a:pt x="4097" y="325013"/>
                    <a:pt x="31682" y="342766"/>
                    <a:pt x="81390" y="350960"/>
                  </a:cubicBezTo>
                  <a:cubicBezTo>
                    <a:pt x="92315" y="352872"/>
                    <a:pt x="103786" y="354237"/>
                    <a:pt x="115803" y="355057"/>
                  </a:cubicBezTo>
                  <a:cubicBezTo>
                    <a:pt x="120719" y="355330"/>
                    <a:pt x="125635" y="355603"/>
                    <a:pt x="130552" y="355876"/>
                  </a:cubicBezTo>
                  <a:cubicBezTo>
                    <a:pt x="135468" y="356149"/>
                    <a:pt x="140657" y="356149"/>
                    <a:pt x="145846" y="356149"/>
                  </a:cubicBezTo>
                  <a:lnTo>
                    <a:pt x="145846" y="356149"/>
                  </a:lnTo>
                  <a:lnTo>
                    <a:pt x="145846" y="356149"/>
                  </a:lnTo>
                  <a:cubicBezTo>
                    <a:pt x="151036" y="356149"/>
                    <a:pt x="155952" y="356149"/>
                    <a:pt x="161141" y="355876"/>
                  </a:cubicBezTo>
                  <a:cubicBezTo>
                    <a:pt x="166057" y="355603"/>
                    <a:pt x="170973" y="355330"/>
                    <a:pt x="175890" y="355057"/>
                  </a:cubicBezTo>
                  <a:cubicBezTo>
                    <a:pt x="187907" y="354237"/>
                    <a:pt x="199378" y="352872"/>
                    <a:pt x="210303" y="350960"/>
                  </a:cubicBezTo>
                  <a:cubicBezTo>
                    <a:pt x="260011" y="342493"/>
                    <a:pt x="287596" y="325013"/>
                    <a:pt x="287596" y="304529"/>
                  </a:cubicBezTo>
                  <a:lnTo>
                    <a:pt x="287596" y="256460"/>
                  </a:lnTo>
                  <a:lnTo>
                    <a:pt x="287596" y="160322"/>
                  </a:lnTo>
                  <a:lnTo>
                    <a:pt x="287596" y="135468"/>
                  </a:lnTo>
                  <a:lnTo>
                    <a:pt x="287596" y="55717"/>
                  </a:lnTo>
                  <a:cubicBezTo>
                    <a:pt x="287596" y="27312"/>
                    <a:pt x="227783" y="4097"/>
                    <a:pt x="145846" y="4097"/>
                  </a:cubicBezTo>
                  <a:close/>
                </a:path>
              </a:pathLst>
            </a:custGeom>
            <a:noFill/>
            <a:ln w="6350"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F992E0B9-FC93-BDC5-6FBA-65E1234C84CD}"/>
                </a:ext>
              </a:extLst>
            </p:cNvPr>
            <p:cNvSpPr/>
            <p:nvPr/>
          </p:nvSpPr>
          <p:spPr>
            <a:xfrm>
              <a:off x="6775540" y="5624492"/>
              <a:ext cx="364871" cy="127361"/>
            </a:xfrm>
            <a:custGeom>
              <a:avLst/>
              <a:gdLst>
                <a:gd name="connsiteX0" fmla="*/ 287596 w 289507"/>
                <a:gd name="connsiteY0" fmla="*/ 53805 h 101054"/>
                <a:gd name="connsiteX1" fmla="*/ 145846 w 289507"/>
                <a:gd name="connsiteY1" fmla="*/ 98050 h 101054"/>
                <a:gd name="connsiteX2" fmla="*/ 4097 w 289507"/>
                <a:gd name="connsiteY2" fmla="*/ 53805 h 101054"/>
                <a:gd name="connsiteX3" fmla="*/ 145846 w 289507"/>
                <a:gd name="connsiteY3" fmla="*/ 4097 h 101054"/>
                <a:gd name="connsiteX4" fmla="*/ 287596 w 289507"/>
                <a:gd name="connsiteY4" fmla="*/ 53805 h 101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507" h="101054">
                  <a:moveTo>
                    <a:pt x="287596" y="53805"/>
                  </a:moveTo>
                  <a:cubicBezTo>
                    <a:pt x="287596" y="78112"/>
                    <a:pt x="228056" y="98050"/>
                    <a:pt x="145846" y="98050"/>
                  </a:cubicBezTo>
                  <a:cubicBezTo>
                    <a:pt x="63637" y="98050"/>
                    <a:pt x="4097" y="78386"/>
                    <a:pt x="4097" y="53805"/>
                  </a:cubicBezTo>
                  <a:cubicBezTo>
                    <a:pt x="4097" y="29224"/>
                    <a:pt x="63910" y="4097"/>
                    <a:pt x="145846" y="4097"/>
                  </a:cubicBezTo>
                  <a:cubicBezTo>
                    <a:pt x="227783" y="4097"/>
                    <a:pt x="287596" y="29224"/>
                    <a:pt x="287596" y="53805"/>
                  </a:cubicBezTo>
                  <a:close/>
                </a:path>
              </a:pathLst>
            </a:custGeom>
            <a:noFill/>
            <a:ln w="6350"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48E4C453-E63F-FEAB-D2F2-A44780088818}"/>
                </a:ext>
              </a:extLst>
            </p:cNvPr>
            <p:cNvSpPr/>
            <p:nvPr/>
          </p:nvSpPr>
          <p:spPr>
            <a:xfrm>
              <a:off x="6775540" y="5797633"/>
              <a:ext cx="364871" cy="65401"/>
            </a:xfrm>
            <a:custGeom>
              <a:avLst/>
              <a:gdLst>
                <a:gd name="connsiteX0" fmla="*/ 287596 w 289507"/>
                <a:gd name="connsiteY0" fmla="*/ 4097 h 51892"/>
                <a:gd name="connsiteX1" fmla="*/ 145846 w 289507"/>
                <a:gd name="connsiteY1" fmla="*/ 48342 h 51892"/>
                <a:gd name="connsiteX2" fmla="*/ 4097 w 289507"/>
                <a:gd name="connsiteY2" fmla="*/ 4097 h 51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9507" h="51892">
                  <a:moveTo>
                    <a:pt x="287596" y="4097"/>
                  </a:moveTo>
                  <a:cubicBezTo>
                    <a:pt x="287596" y="28405"/>
                    <a:pt x="228056" y="48342"/>
                    <a:pt x="145846" y="48342"/>
                  </a:cubicBezTo>
                  <a:cubicBezTo>
                    <a:pt x="63637" y="48342"/>
                    <a:pt x="4097" y="28678"/>
                    <a:pt x="4097" y="4097"/>
                  </a:cubicBezTo>
                </a:path>
              </a:pathLst>
            </a:custGeom>
            <a:noFill/>
            <a:ln w="6350">
              <a:solidFill>
                <a:srgbClr val="32ADFF"/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73ED142B-F720-DBD1-2DE0-DC0CF04D6B01}"/>
                </a:ext>
              </a:extLst>
            </p:cNvPr>
            <p:cNvSpPr/>
            <p:nvPr/>
          </p:nvSpPr>
          <p:spPr>
            <a:xfrm>
              <a:off x="6775540" y="5907094"/>
              <a:ext cx="364871" cy="65401"/>
            </a:xfrm>
            <a:custGeom>
              <a:avLst/>
              <a:gdLst>
                <a:gd name="connsiteX0" fmla="*/ 287596 w 289507"/>
                <a:gd name="connsiteY0" fmla="*/ 4097 h 51892"/>
                <a:gd name="connsiteX1" fmla="*/ 145846 w 289507"/>
                <a:gd name="connsiteY1" fmla="*/ 48342 h 51892"/>
                <a:gd name="connsiteX2" fmla="*/ 4097 w 289507"/>
                <a:gd name="connsiteY2" fmla="*/ 4097 h 51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9507" h="51892">
                  <a:moveTo>
                    <a:pt x="287596" y="4097"/>
                  </a:moveTo>
                  <a:cubicBezTo>
                    <a:pt x="287596" y="28405"/>
                    <a:pt x="228056" y="48342"/>
                    <a:pt x="145846" y="48342"/>
                  </a:cubicBezTo>
                  <a:cubicBezTo>
                    <a:pt x="63637" y="48342"/>
                    <a:pt x="4097" y="28678"/>
                    <a:pt x="4097" y="4097"/>
                  </a:cubicBezTo>
                </a:path>
              </a:pathLst>
            </a:custGeom>
            <a:noFill/>
            <a:ln w="6350">
              <a:solidFill>
                <a:srgbClr val="32ADFF"/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73DA99FA-44F6-6554-7783-75A4A838F5CC}"/>
                </a:ext>
              </a:extLst>
            </p:cNvPr>
            <p:cNvSpPr/>
            <p:nvPr/>
          </p:nvSpPr>
          <p:spPr>
            <a:xfrm>
              <a:off x="6775540" y="5624492"/>
              <a:ext cx="364871" cy="450924"/>
            </a:xfrm>
            <a:custGeom>
              <a:avLst/>
              <a:gdLst>
                <a:gd name="connsiteX0" fmla="*/ 145846 w 289507"/>
                <a:gd name="connsiteY0" fmla="*/ 4097 h 357787"/>
                <a:gd name="connsiteX1" fmla="*/ 4097 w 289507"/>
                <a:gd name="connsiteY1" fmla="*/ 55717 h 357787"/>
                <a:gd name="connsiteX2" fmla="*/ 4097 w 289507"/>
                <a:gd name="connsiteY2" fmla="*/ 161687 h 357787"/>
                <a:gd name="connsiteX3" fmla="*/ 4097 w 289507"/>
                <a:gd name="connsiteY3" fmla="*/ 257826 h 357787"/>
                <a:gd name="connsiteX4" fmla="*/ 4097 w 289507"/>
                <a:gd name="connsiteY4" fmla="*/ 304529 h 357787"/>
                <a:gd name="connsiteX5" fmla="*/ 81390 w 289507"/>
                <a:gd name="connsiteY5" fmla="*/ 350960 h 357787"/>
                <a:gd name="connsiteX6" fmla="*/ 115803 w 289507"/>
                <a:gd name="connsiteY6" fmla="*/ 355057 h 357787"/>
                <a:gd name="connsiteX7" fmla="*/ 130552 w 289507"/>
                <a:gd name="connsiteY7" fmla="*/ 355876 h 357787"/>
                <a:gd name="connsiteX8" fmla="*/ 145846 w 289507"/>
                <a:gd name="connsiteY8" fmla="*/ 356149 h 357787"/>
                <a:gd name="connsiteX9" fmla="*/ 145846 w 289507"/>
                <a:gd name="connsiteY9" fmla="*/ 356149 h 357787"/>
                <a:gd name="connsiteX10" fmla="*/ 145846 w 289507"/>
                <a:gd name="connsiteY10" fmla="*/ 356149 h 357787"/>
                <a:gd name="connsiteX11" fmla="*/ 161141 w 289507"/>
                <a:gd name="connsiteY11" fmla="*/ 355876 h 357787"/>
                <a:gd name="connsiteX12" fmla="*/ 175890 w 289507"/>
                <a:gd name="connsiteY12" fmla="*/ 355057 h 357787"/>
                <a:gd name="connsiteX13" fmla="*/ 210303 w 289507"/>
                <a:gd name="connsiteY13" fmla="*/ 350960 h 357787"/>
                <a:gd name="connsiteX14" fmla="*/ 287596 w 289507"/>
                <a:gd name="connsiteY14" fmla="*/ 304529 h 357787"/>
                <a:gd name="connsiteX15" fmla="*/ 287596 w 289507"/>
                <a:gd name="connsiteY15" fmla="*/ 256460 h 357787"/>
                <a:gd name="connsiteX16" fmla="*/ 287596 w 289507"/>
                <a:gd name="connsiteY16" fmla="*/ 160322 h 357787"/>
                <a:gd name="connsiteX17" fmla="*/ 287596 w 289507"/>
                <a:gd name="connsiteY17" fmla="*/ 135468 h 357787"/>
                <a:gd name="connsiteX18" fmla="*/ 287596 w 289507"/>
                <a:gd name="connsiteY18" fmla="*/ 55717 h 357787"/>
                <a:gd name="connsiteX19" fmla="*/ 145846 w 289507"/>
                <a:gd name="connsiteY19" fmla="*/ 4097 h 357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507" h="357787">
                  <a:moveTo>
                    <a:pt x="145846" y="4097"/>
                  </a:moveTo>
                  <a:cubicBezTo>
                    <a:pt x="63910" y="4097"/>
                    <a:pt x="4097" y="27312"/>
                    <a:pt x="4097" y="55717"/>
                  </a:cubicBezTo>
                  <a:lnTo>
                    <a:pt x="4097" y="161687"/>
                  </a:lnTo>
                  <a:lnTo>
                    <a:pt x="4097" y="257826"/>
                  </a:lnTo>
                  <a:lnTo>
                    <a:pt x="4097" y="304529"/>
                  </a:lnTo>
                  <a:cubicBezTo>
                    <a:pt x="4097" y="325013"/>
                    <a:pt x="31682" y="342766"/>
                    <a:pt x="81390" y="350960"/>
                  </a:cubicBezTo>
                  <a:cubicBezTo>
                    <a:pt x="92315" y="352872"/>
                    <a:pt x="103786" y="354237"/>
                    <a:pt x="115803" y="355057"/>
                  </a:cubicBezTo>
                  <a:cubicBezTo>
                    <a:pt x="120719" y="355330"/>
                    <a:pt x="125635" y="355603"/>
                    <a:pt x="130552" y="355876"/>
                  </a:cubicBezTo>
                  <a:cubicBezTo>
                    <a:pt x="135468" y="356149"/>
                    <a:pt x="140657" y="356149"/>
                    <a:pt x="145846" y="356149"/>
                  </a:cubicBezTo>
                  <a:lnTo>
                    <a:pt x="145846" y="356149"/>
                  </a:lnTo>
                  <a:lnTo>
                    <a:pt x="145846" y="356149"/>
                  </a:lnTo>
                  <a:cubicBezTo>
                    <a:pt x="151036" y="356149"/>
                    <a:pt x="155952" y="356149"/>
                    <a:pt x="161141" y="355876"/>
                  </a:cubicBezTo>
                  <a:cubicBezTo>
                    <a:pt x="166057" y="355603"/>
                    <a:pt x="170973" y="355330"/>
                    <a:pt x="175890" y="355057"/>
                  </a:cubicBezTo>
                  <a:cubicBezTo>
                    <a:pt x="187907" y="354237"/>
                    <a:pt x="199378" y="352872"/>
                    <a:pt x="210303" y="350960"/>
                  </a:cubicBezTo>
                  <a:cubicBezTo>
                    <a:pt x="260011" y="342493"/>
                    <a:pt x="287596" y="325013"/>
                    <a:pt x="287596" y="304529"/>
                  </a:cubicBezTo>
                  <a:lnTo>
                    <a:pt x="287596" y="256460"/>
                  </a:lnTo>
                  <a:lnTo>
                    <a:pt x="287596" y="160322"/>
                  </a:lnTo>
                  <a:lnTo>
                    <a:pt x="287596" y="135468"/>
                  </a:lnTo>
                  <a:lnTo>
                    <a:pt x="287596" y="55717"/>
                  </a:lnTo>
                  <a:cubicBezTo>
                    <a:pt x="287596" y="27312"/>
                    <a:pt x="227783" y="4097"/>
                    <a:pt x="145846" y="4097"/>
                  </a:cubicBezTo>
                  <a:close/>
                </a:path>
              </a:pathLst>
            </a:custGeom>
            <a:noFill/>
            <a:ln w="6350"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sp>
        <p:nvSpPr>
          <p:cNvPr id="125" name="object 3">
            <a:extLst>
              <a:ext uri="{FF2B5EF4-FFF2-40B4-BE49-F238E27FC236}">
                <a16:creationId xmlns:a16="http://schemas.microsoft.com/office/drawing/2014/main" id="{761A5583-8FB8-DD94-196E-0A79314C9F57}"/>
              </a:ext>
            </a:extLst>
          </p:cNvPr>
          <p:cNvSpPr txBox="1"/>
          <p:nvPr/>
        </p:nvSpPr>
        <p:spPr>
          <a:xfrm>
            <a:off x="538846" y="3184395"/>
            <a:ext cx="1195994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lang="en-US" sz="1000" spc="50" dirty="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rPr>
              <a:t>Prompt Foundry</a:t>
            </a:r>
            <a:endParaRPr sz="1000" spc="50" dirty="0">
              <a:solidFill>
                <a:schemeClr val="tx2">
                  <a:lumMod val="75000"/>
                  <a:lumOff val="25000"/>
                </a:schemeClr>
              </a:solidFill>
              <a:latin typeface="Aptos SemiBold" panose="020B0004020202020204" pitchFamily="34" charset="0"/>
              <a:cs typeface="Segoe UI Semibold" panose="020B0702040204020203" pitchFamily="34" charset="0"/>
            </a:endParaRPr>
          </a:p>
        </p:txBody>
      </p: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D0F42D99-9CAE-0DBE-35E3-A3CD80D42B35}"/>
              </a:ext>
            </a:extLst>
          </p:cNvPr>
          <p:cNvCxnSpPr>
            <a:cxnSpLocks/>
            <a:stCxn id="124" idx="16"/>
            <a:endCxn id="3" idx="1"/>
          </p:cNvCxnSpPr>
          <p:nvPr/>
        </p:nvCxnSpPr>
        <p:spPr>
          <a:xfrm flipV="1">
            <a:off x="1213850" y="3078243"/>
            <a:ext cx="1222125" cy="632773"/>
          </a:xfrm>
          <a:prstGeom prst="curvedConnector3">
            <a:avLst>
              <a:gd name="adj1" fmla="val 50000"/>
            </a:avLst>
          </a:prstGeom>
          <a:ln>
            <a:solidFill>
              <a:srgbClr val="B8CBD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TextBox 130">
            <a:extLst>
              <a:ext uri="{FF2B5EF4-FFF2-40B4-BE49-F238E27FC236}">
                <a16:creationId xmlns:a16="http://schemas.microsoft.com/office/drawing/2014/main" id="{AB4A98BF-7907-0849-C9C8-FB08A53A9A05}"/>
              </a:ext>
            </a:extLst>
          </p:cNvPr>
          <p:cNvSpPr txBox="1"/>
          <p:nvPr/>
        </p:nvSpPr>
        <p:spPr>
          <a:xfrm>
            <a:off x="607851" y="4050939"/>
            <a:ext cx="1565570" cy="7885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>
              <a:lnSpc>
                <a:spcPts val="1100"/>
              </a:lnSpc>
            </a:pPr>
            <a:r>
              <a:rPr lang="en-US" sz="9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mpts for</a:t>
            </a:r>
          </a:p>
          <a:p>
            <a:pPr marL="180000" marR="5080" indent="-144000">
              <a:lnSpc>
                <a:spcPts val="1100"/>
              </a:lnSpc>
              <a:buSzPct val="85000"/>
              <a:buFont typeface="+mj-lt"/>
              <a:buAutoNum type="arabicPeriod"/>
            </a:pPr>
            <a:r>
              <a:rPr lang="en-US" sz="9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verall Workflow </a:t>
            </a:r>
          </a:p>
          <a:p>
            <a:pPr marL="180000" marR="5080" indent="-144000">
              <a:lnSpc>
                <a:spcPts val="1100"/>
              </a:lnSpc>
              <a:buSzPct val="85000"/>
              <a:buFont typeface="+mj-lt"/>
              <a:buAutoNum type="arabicPeriod"/>
            </a:pPr>
            <a:r>
              <a:rPr lang="en-US" sz="9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pecific Tasks</a:t>
            </a:r>
          </a:p>
          <a:p>
            <a:pPr marL="180000" marR="5080" indent="-144000">
              <a:lnSpc>
                <a:spcPts val="1100"/>
              </a:lnSpc>
              <a:buSzPct val="85000"/>
              <a:buFont typeface="+mj-lt"/>
              <a:buAutoNum type="arabicPeriod"/>
            </a:pPr>
            <a:r>
              <a:rPr lang="en-US" sz="9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ality Checks</a:t>
            </a:r>
          </a:p>
          <a:p>
            <a:pPr marL="180000" marR="5080" indent="-144000">
              <a:lnSpc>
                <a:spcPts val="1100"/>
              </a:lnSpc>
              <a:buSzPct val="85000"/>
              <a:buFont typeface="+mj-lt"/>
              <a:buAutoNum type="arabicPeriod"/>
            </a:pPr>
            <a:r>
              <a:rPr lang="en-US" sz="9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try &amp; Exit Criteria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28334DC3-50F4-63D7-FA08-6792AE253479}"/>
              </a:ext>
            </a:extLst>
          </p:cNvPr>
          <p:cNvSpPr txBox="1"/>
          <p:nvPr/>
        </p:nvSpPr>
        <p:spPr>
          <a:xfrm>
            <a:off x="526046" y="5124317"/>
            <a:ext cx="936000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>
            <a:defPPr>
              <a:defRPr lang="en-US"/>
            </a:defPPr>
            <a:lvl1pPr marL="12700">
              <a:spcBef>
                <a:spcPts val="120"/>
              </a:spcBef>
              <a:defRPr sz="1000" spc="5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i="1" dirty="0">
                <a:solidFill>
                  <a:srgbClr val="32ADFF"/>
                </a:solidFill>
              </a:rPr>
              <a:t>Star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8A9EB76-0AE2-EE2A-4826-E2AD19D2B5C9}"/>
              </a:ext>
            </a:extLst>
          </p:cNvPr>
          <p:cNvSpPr txBox="1"/>
          <p:nvPr/>
        </p:nvSpPr>
        <p:spPr>
          <a:xfrm>
            <a:off x="11183771" y="5124317"/>
            <a:ext cx="936000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>
            <a:defPPr>
              <a:defRPr lang="en-US"/>
            </a:defPPr>
            <a:lvl1pPr marL="12700">
              <a:spcBef>
                <a:spcPts val="120"/>
              </a:spcBef>
              <a:defRPr sz="1000" spc="5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i="1" dirty="0">
                <a:solidFill>
                  <a:srgbClr val="32ADFF"/>
                </a:solidFill>
              </a:rPr>
              <a:t>End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A3D8583E-89A8-E010-BCF7-D559C15C9BA4}"/>
              </a:ext>
            </a:extLst>
          </p:cNvPr>
          <p:cNvSpPr txBox="1"/>
          <p:nvPr/>
        </p:nvSpPr>
        <p:spPr>
          <a:xfrm>
            <a:off x="5301830" y="5685066"/>
            <a:ext cx="1116000" cy="3633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algn="ctr">
              <a:lnSpc>
                <a:spcPct val="100600"/>
              </a:lnSpc>
            </a:pPr>
            <a:r>
              <a:rPr lang="en-US" sz="9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eedback Loops</a:t>
            </a:r>
          </a:p>
        </p:txBody>
      </p:sp>
      <p:pic>
        <p:nvPicPr>
          <p:cNvPr id="150" name="Picture 2" descr="SonarSource | Investment | Insight Partners">
            <a:extLst>
              <a:ext uri="{FF2B5EF4-FFF2-40B4-BE49-F238E27FC236}">
                <a16:creationId xmlns:a16="http://schemas.microsoft.com/office/drawing/2014/main" id="{A0DB9B1C-E751-7232-D289-3D387C78E9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8362" y="2522301"/>
            <a:ext cx="548640" cy="136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1" name="Picture 4" descr="What is GitHub.. GitHub is a platform for online… | by Sameer Hussain |  Medium">
            <a:extLst>
              <a:ext uri="{FF2B5EF4-FFF2-40B4-BE49-F238E27FC236}">
                <a16:creationId xmlns:a16="http://schemas.microsoft.com/office/drawing/2014/main" id="{8DACC3B8-DBD7-BCC1-EFF8-490B749529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1071" y="2471948"/>
            <a:ext cx="640080" cy="237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2" name="Picture 6" descr="Opsera | HashiCorp Tech Partner">
            <a:extLst>
              <a:ext uri="{FF2B5EF4-FFF2-40B4-BE49-F238E27FC236}">
                <a16:creationId xmlns:a16="http://schemas.microsoft.com/office/drawing/2014/main" id="{4F3E831E-D09F-70B7-7E9F-76A8B84460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4267" y="2758914"/>
            <a:ext cx="914400" cy="297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" name="Picture 10">
            <a:extLst>
              <a:ext uri="{FF2B5EF4-FFF2-40B4-BE49-F238E27FC236}">
                <a16:creationId xmlns:a16="http://schemas.microsoft.com/office/drawing/2014/main" id="{AC12C343-306D-A6D4-D8EB-2FC95EE325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2606" y="2496146"/>
            <a:ext cx="365760" cy="15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4" name="Picture 2" descr="Instant insight into your applications | CAST">
            <a:extLst>
              <a:ext uri="{FF2B5EF4-FFF2-40B4-BE49-F238E27FC236}">
                <a16:creationId xmlns:a16="http://schemas.microsoft.com/office/drawing/2014/main" id="{A99CFE4D-86BF-18FC-6392-EFB90F0D25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91" t="39926" r="27552" b="38439"/>
          <a:stretch/>
        </p:blipFill>
        <p:spPr bwMode="auto">
          <a:xfrm>
            <a:off x="10222223" y="2845642"/>
            <a:ext cx="457200" cy="116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7" name="TextBox 156">
            <a:extLst>
              <a:ext uri="{FF2B5EF4-FFF2-40B4-BE49-F238E27FC236}">
                <a16:creationId xmlns:a16="http://schemas.microsoft.com/office/drawing/2014/main" id="{B056A48D-E5BA-46EA-0F3A-4D7DE52056F0}"/>
              </a:ext>
            </a:extLst>
          </p:cNvPr>
          <p:cNvSpPr txBox="1"/>
          <p:nvPr/>
        </p:nvSpPr>
        <p:spPr>
          <a:xfrm>
            <a:off x="10182462" y="2070103"/>
            <a:ext cx="1452842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>
            <a:defPPr>
              <a:defRPr lang="en-US"/>
            </a:defPPr>
            <a:lvl1pPr marL="12700">
              <a:spcBef>
                <a:spcPts val="120"/>
              </a:spcBef>
              <a:defRPr sz="1000" spc="5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External Systems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ABF32581-271A-1A8B-64CF-1880AC95E077}"/>
              </a:ext>
            </a:extLst>
          </p:cNvPr>
          <p:cNvSpPr txBox="1"/>
          <p:nvPr/>
        </p:nvSpPr>
        <p:spPr>
          <a:xfrm>
            <a:off x="10172990" y="3556535"/>
            <a:ext cx="1452842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>
            <a:defPPr>
              <a:defRPr lang="en-US"/>
            </a:defPPr>
            <a:lvl1pPr marL="12700">
              <a:spcBef>
                <a:spcPts val="120"/>
              </a:spcBef>
              <a:defRPr sz="1000" spc="5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Internal Systems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C28075EC-3F4A-4FF3-352E-9000FAB796DA}"/>
              </a:ext>
            </a:extLst>
          </p:cNvPr>
          <p:cNvSpPr txBox="1"/>
          <p:nvPr/>
        </p:nvSpPr>
        <p:spPr>
          <a:xfrm>
            <a:off x="9765764" y="3826254"/>
            <a:ext cx="1972422" cy="5005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algn="ctr">
              <a:lnSpc>
                <a:spcPts val="1100"/>
              </a:lnSpc>
            </a:pPr>
            <a:r>
              <a:rPr lang="en-US" sz="9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B or Function specific servers hosted internally </a:t>
            </a:r>
          </a:p>
          <a:p>
            <a:pPr marL="12700" marR="5080" algn="ctr">
              <a:lnSpc>
                <a:spcPts val="1100"/>
              </a:lnSpc>
            </a:pPr>
            <a:r>
              <a:rPr lang="en-US" sz="7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.g., For Enterprise Arch. Standards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54414D4D-5218-1573-249C-6C6960DCE3E1}"/>
              </a:ext>
            </a:extLst>
          </p:cNvPr>
          <p:cNvSpPr txBox="1"/>
          <p:nvPr/>
        </p:nvSpPr>
        <p:spPr>
          <a:xfrm>
            <a:off x="1466216" y="3670791"/>
            <a:ext cx="936000" cy="3030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algn="ctr">
              <a:lnSpc>
                <a:spcPct val="100600"/>
              </a:lnSpc>
            </a:pPr>
            <a:r>
              <a:rPr lang="en-US" sz="7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mpts Design</a:t>
            </a:r>
          </a:p>
          <a:p>
            <a:pPr marL="12700" marR="5080" algn="ctr">
              <a:lnSpc>
                <a:spcPct val="100600"/>
              </a:lnSpc>
            </a:pPr>
            <a:r>
              <a:rPr lang="en-US" sz="7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mpts Ops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7CF9A7CA-E222-137C-9086-5B9E85C670A7}"/>
              </a:ext>
            </a:extLst>
          </p:cNvPr>
          <p:cNvSpPr txBox="1"/>
          <p:nvPr/>
        </p:nvSpPr>
        <p:spPr>
          <a:xfrm>
            <a:off x="2919799" y="3750683"/>
            <a:ext cx="1404000" cy="184666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square">
            <a:spAutoFit/>
          </a:bodyPr>
          <a:lstStyle/>
          <a:p>
            <a:r>
              <a:rPr lang="en-IN" sz="600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E.g., [Generate User Stories]</a:t>
            </a:r>
          </a:p>
        </p:txBody>
      </p: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9D62D14E-ABAB-E267-759C-6C93ABD51283}"/>
              </a:ext>
            </a:extLst>
          </p:cNvPr>
          <p:cNvGrpSpPr>
            <a:grpSpLocks noChangeAspect="1"/>
          </p:cNvGrpSpPr>
          <p:nvPr/>
        </p:nvGrpSpPr>
        <p:grpSpPr>
          <a:xfrm>
            <a:off x="6829763" y="1546913"/>
            <a:ext cx="365760" cy="356161"/>
            <a:chOff x="8479832" y="4647622"/>
            <a:chExt cx="539362" cy="525207"/>
          </a:xfrm>
          <a:solidFill>
            <a:srgbClr val="32ADFF"/>
          </a:solidFill>
        </p:grpSpPr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FD9F60BE-A69B-0296-AA91-64B5486059E8}"/>
                </a:ext>
              </a:extLst>
            </p:cNvPr>
            <p:cNvSpPr/>
            <p:nvPr/>
          </p:nvSpPr>
          <p:spPr>
            <a:xfrm>
              <a:off x="8581489" y="4647622"/>
              <a:ext cx="437705" cy="369127"/>
            </a:xfrm>
            <a:custGeom>
              <a:avLst/>
              <a:gdLst>
                <a:gd name="connsiteX0" fmla="*/ 631293 w 643112"/>
                <a:gd name="connsiteY0" fmla="*/ 384590 h 556800"/>
                <a:gd name="connsiteX1" fmla="*/ 444376 w 643112"/>
                <a:gd name="connsiteY1" fmla="*/ 384590 h 556800"/>
                <a:gd name="connsiteX2" fmla="*/ 444376 w 643112"/>
                <a:gd name="connsiteY2" fmla="*/ 358201 h 556800"/>
                <a:gd name="connsiteX3" fmla="*/ 494816 w 643112"/>
                <a:gd name="connsiteY3" fmla="*/ 358201 h 556800"/>
                <a:gd name="connsiteX4" fmla="*/ 506361 w 643112"/>
                <a:gd name="connsiteY4" fmla="*/ 346656 h 556800"/>
                <a:gd name="connsiteX5" fmla="*/ 494816 w 643112"/>
                <a:gd name="connsiteY5" fmla="*/ 335111 h 556800"/>
                <a:gd name="connsiteX6" fmla="*/ 444376 w 643112"/>
                <a:gd name="connsiteY6" fmla="*/ 335111 h 556800"/>
                <a:gd name="connsiteX7" fmla="*/ 444376 w 643112"/>
                <a:gd name="connsiteY7" fmla="*/ 308723 h 556800"/>
                <a:gd name="connsiteX8" fmla="*/ 479423 w 643112"/>
                <a:gd name="connsiteY8" fmla="*/ 308723 h 556800"/>
                <a:gd name="connsiteX9" fmla="*/ 513920 w 643112"/>
                <a:gd name="connsiteY9" fmla="*/ 294429 h 556800"/>
                <a:gd name="connsiteX10" fmla="*/ 590199 w 643112"/>
                <a:gd name="connsiteY10" fmla="*/ 218151 h 556800"/>
                <a:gd name="connsiteX11" fmla="*/ 606417 w 643112"/>
                <a:gd name="connsiteY11" fmla="*/ 221999 h 556800"/>
                <a:gd name="connsiteX12" fmla="*/ 632118 w 643112"/>
                <a:gd name="connsiteY12" fmla="*/ 211279 h 556800"/>
                <a:gd name="connsiteX13" fmla="*/ 642838 w 643112"/>
                <a:gd name="connsiteY13" fmla="*/ 185577 h 556800"/>
                <a:gd name="connsiteX14" fmla="*/ 632118 w 643112"/>
                <a:gd name="connsiteY14" fmla="*/ 159876 h 556800"/>
                <a:gd name="connsiteX15" fmla="*/ 606417 w 643112"/>
                <a:gd name="connsiteY15" fmla="*/ 149156 h 556800"/>
                <a:gd name="connsiteX16" fmla="*/ 580715 w 643112"/>
                <a:gd name="connsiteY16" fmla="*/ 159876 h 556800"/>
                <a:gd name="connsiteX17" fmla="*/ 569995 w 643112"/>
                <a:gd name="connsiteY17" fmla="*/ 185577 h 556800"/>
                <a:gd name="connsiteX18" fmla="*/ 573843 w 643112"/>
                <a:gd name="connsiteY18" fmla="*/ 201795 h 556800"/>
                <a:gd name="connsiteX19" fmla="*/ 497565 w 643112"/>
                <a:gd name="connsiteY19" fmla="*/ 278074 h 556800"/>
                <a:gd name="connsiteX20" fmla="*/ 479423 w 643112"/>
                <a:gd name="connsiteY20" fmla="*/ 285633 h 556800"/>
                <a:gd name="connsiteX21" fmla="*/ 444376 w 643112"/>
                <a:gd name="connsiteY21" fmla="*/ 285633 h 556800"/>
                <a:gd name="connsiteX22" fmla="*/ 444376 w 643112"/>
                <a:gd name="connsiteY22" fmla="*/ 259795 h 556800"/>
                <a:gd name="connsiteX23" fmla="*/ 383215 w 643112"/>
                <a:gd name="connsiteY23" fmla="*/ 198634 h 556800"/>
                <a:gd name="connsiteX24" fmla="*/ 357651 w 643112"/>
                <a:gd name="connsiteY24" fmla="*/ 198634 h 556800"/>
                <a:gd name="connsiteX25" fmla="*/ 357651 w 643112"/>
                <a:gd name="connsiteY25" fmla="*/ 95830 h 556800"/>
                <a:gd name="connsiteX26" fmla="*/ 382528 w 643112"/>
                <a:gd name="connsiteY26" fmla="*/ 61332 h 556800"/>
                <a:gd name="connsiteX27" fmla="*/ 346107 w 643112"/>
                <a:gd name="connsiteY27" fmla="*/ 24911 h 556800"/>
                <a:gd name="connsiteX28" fmla="*/ 309685 w 643112"/>
                <a:gd name="connsiteY28" fmla="*/ 61195 h 556800"/>
                <a:gd name="connsiteX29" fmla="*/ 334562 w 643112"/>
                <a:gd name="connsiteY29" fmla="*/ 95692 h 556800"/>
                <a:gd name="connsiteX30" fmla="*/ 334562 w 643112"/>
                <a:gd name="connsiteY30" fmla="*/ 198497 h 556800"/>
                <a:gd name="connsiteX31" fmla="*/ 308173 w 643112"/>
                <a:gd name="connsiteY31" fmla="*/ 198497 h 556800"/>
                <a:gd name="connsiteX32" fmla="*/ 308173 w 643112"/>
                <a:gd name="connsiteY32" fmla="*/ 148057 h 556800"/>
                <a:gd name="connsiteX33" fmla="*/ 296628 w 643112"/>
                <a:gd name="connsiteY33" fmla="*/ 136512 h 556800"/>
                <a:gd name="connsiteX34" fmla="*/ 285084 w 643112"/>
                <a:gd name="connsiteY34" fmla="*/ 148057 h 556800"/>
                <a:gd name="connsiteX35" fmla="*/ 285084 w 643112"/>
                <a:gd name="connsiteY35" fmla="*/ 198497 h 556800"/>
                <a:gd name="connsiteX36" fmla="*/ 258695 w 643112"/>
                <a:gd name="connsiteY36" fmla="*/ 198497 h 556800"/>
                <a:gd name="connsiteX37" fmla="*/ 258695 w 643112"/>
                <a:gd name="connsiteY37" fmla="*/ 11579 h 556800"/>
                <a:gd name="connsiteX38" fmla="*/ 247150 w 643112"/>
                <a:gd name="connsiteY38" fmla="*/ 34 h 556800"/>
                <a:gd name="connsiteX39" fmla="*/ 235605 w 643112"/>
                <a:gd name="connsiteY39" fmla="*/ 11579 h 556800"/>
                <a:gd name="connsiteX40" fmla="*/ 235605 w 643112"/>
                <a:gd name="connsiteY40" fmla="*/ 198497 h 556800"/>
                <a:gd name="connsiteX41" fmla="*/ 209217 w 643112"/>
                <a:gd name="connsiteY41" fmla="*/ 198497 h 556800"/>
                <a:gd name="connsiteX42" fmla="*/ 209217 w 643112"/>
                <a:gd name="connsiteY42" fmla="*/ 148057 h 556800"/>
                <a:gd name="connsiteX43" fmla="*/ 197672 w 643112"/>
                <a:gd name="connsiteY43" fmla="*/ 136512 h 556800"/>
                <a:gd name="connsiteX44" fmla="*/ 186127 w 643112"/>
                <a:gd name="connsiteY44" fmla="*/ 148057 h 556800"/>
                <a:gd name="connsiteX45" fmla="*/ 186127 w 643112"/>
                <a:gd name="connsiteY45" fmla="*/ 198497 h 556800"/>
                <a:gd name="connsiteX46" fmla="*/ 159739 w 643112"/>
                <a:gd name="connsiteY46" fmla="*/ 198497 h 556800"/>
                <a:gd name="connsiteX47" fmla="*/ 159739 w 643112"/>
                <a:gd name="connsiteY47" fmla="*/ 163450 h 556800"/>
                <a:gd name="connsiteX48" fmla="*/ 145445 w 643112"/>
                <a:gd name="connsiteY48" fmla="*/ 128952 h 556800"/>
                <a:gd name="connsiteX49" fmla="*/ 69029 w 643112"/>
                <a:gd name="connsiteY49" fmla="*/ 52536 h 556800"/>
                <a:gd name="connsiteX50" fmla="*/ 62157 w 643112"/>
                <a:gd name="connsiteY50" fmla="*/ 10617 h 556800"/>
                <a:gd name="connsiteX51" fmla="*/ 10617 w 643112"/>
                <a:gd name="connsiteY51" fmla="*/ 10617 h 556800"/>
                <a:gd name="connsiteX52" fmla="*/ 10617 w 643112"/>
                <a:gd name="connsiteY52" fmla="*/ 62157 h 556800"/>
                <a:gd name="connsiteX53" fmla="*/ 36318 w 643112"/>
                <a:gd name="connsiteY53" fmla="*/ 72740 h 556800"/>
                <a:gd name="connsiteX54" fmla="*/ 52536 w 643112"/>
                <a:gd name="connsiteY54" fmla="*/ 68891 h 556800"/>
                <a:gd name="connsiteX55" fmla="*/ 128952 w 643112"/>
                <a:gd name="connsiteY55" fmla="*/ 145308 h 556800"/>
                <a:gd name="connsiteX56" fmla="*/ 136512 w 643112"/>
                <a:gd name="connsiteY56" fmla="*/ 163450 h 556800"/>
                <a:gd name="connsiteX57" fmla="*/ 136512 w 643112"/>
                <a:gd name="connsiteY57" fmla="*/ 198497 h 556800"/>
                <a:gd name="connsiteX58" fmla="*/ 110398 w 643112"/>
                <a:gd name="connsiteY58" fmla="*/ 198497 h 556800"/>
                <a:gd name="connsiteX59" fmla="*/ 95142 w 643112"/>
                <a:gd name="connsiteY59" fmla="*/ 200421 h 556800"/>
                <a:gd name="connsiteX60" fmla="*/ 86759 w 643112"/>
                <a:gd name="connsiteY60" fmla="*/ 214577 h 556800"/>
                <a:gd name="connsiteX61" fmla="*/ 100915 w 643112"/>
                <a:gd name="connsiteY61" fmla="*/ 222961 h 556800"/>
                <a:gd name="connsiteX62" fmla="*/ 110398 w 643112"/>
                <a:gd name="connsiteY62" fmla="*/ 221724 h 556800"/>
                <a:gd name="connsiteX63" fmla="*/ 383353 w 643112"/>
                <a:gd name="connsiteY63" fmla="*/ 221724 h 556800"/>
                <a:gd name="connsiteX64" fmla="*/ 421423 w 643112"/>
                <a:gd name="connsiteY64" fmla="*/ 259795 h 556800"/>
                <a:gd name="connsiteX65" fmla="*/ 421423 w 643112"/>
                <a:gd name="connsiteY65" fmla="*/ 532749 h 556800"/>
                <a:gd name="connsiteX66" fmla="*/ 420186 w 643112"/>
                <a:gd name="connsiteY66" fmla="*/ 542232 h 556800"/>
                <a:gd name="connsiteX67" fmla="*/ 428570 w 643112"/>
                <a:gd name="connsiteY67" fmla="*/ 556389 h 556800"/>
                <a:gd name="connsiteX68" fmla="*/ 431456 w 643112"/>
                <a:gd name="connsiteY68" fmla="*/ 556801 h 556800"/>
                <a:gd name="connsiteX69" fmla="*/ 442726 w 643112"/>
                <a:gd name="connsiteY69" fmla="*/ 548142 h 556800"/>
                <a:gd name="connsiteX70" fmla="*/ 444651 w 643112"/>
                <a:gd name="connsiteY70" fmla="*/ 532887 h 556800"/>
                <a:gd name="connsiteX71" fmla="*/ 444651 w 643112"/>
                <a:gd name="connsiteY71" fmla="*/ 507323 h 556800"/>
                <a:gd name="connsiteX72" fmla="*/ 547455 w 643112"/>
                <a:gd name="connsiteY72" fmla="*/ 507323 h 556800"/>
                <a:gd name="connsiteX73" fmla="*/ 581952 w 643112"/>
                <a:gd name="connsiteY73" fmla="*/ 532199 h 556800"/>
                <a:gd name="connsiteX74" fmla="*/ 618374 w 643112"/>
                <a:gd name="connsiteY74" fmla="*/ 495778 h 556800"/>
                <a:gd name="connsiteX75" fmla="*/ 581952 w 643112"/>
                <a:gd name="connsiteY75" fmla="*/ 459357 h 556800"/>
                <a:gd name="connsiteX76" fmla="*/ 547455 w 643112"/>
                <a:gd name="connsiteY76" fmla="*/ 484233 h 556800"/>
                <a:gd name="connsiteX77" fmla="*/ 444651 w 643112"/>
                <a:gd name="connsiteY77" fmla="*/ 484233 h 556800"/>
                <a:gd name="connsiteX78" fmla="*/ 444651 w 643112"/>
                <a:gd name="connsiteY78" fmla="*/ 457845 h 556800"/>
                <a:gd name="connsiteX79" fmla="*/ 495091 w 643112"/>
                <a:gd name="connsiteY79" fmla="*/ 457845 h 556800"/>
                <a:gd name="connsiteX80" fmla="*/ 506636 w 643112"/>
                <a:gd name="connsiteY80" fmla="*/ 446300 h 556800"/>
                <a:gd name="connsiteX81" fmla="*/ 495091 w 643112"/>
                <a:gd name="connsiteY81" fmla="*/ 434755 h 556800"/>
                <a:gd name="connsiteX82" fmla="*/ 444651 w 643112"/>
                <a:gd name="connsiteY82" fmla="*/ 434755 h 556800"/>
                <a:gd name="connsiteX83" fmla="*/ 444651 w 643112"/>
                <a:gd name="connsiteY83" fmla="*/ 408367 h 556800"/>
                <a:gd name="connsiteX84" fmla="*/ 631568 w 643112"/>
                <a:gd name="connsiteY84" fmla="*/ 408367 h 556800"/>
                <a:gd name="connsiteX85" fmla="*/ 643113 w 643112"/>
                <a:gd name="connsiteY85" fmla="*/ 396822 h 556800"/>
                <a:gd name="connsiteX86" fmla="*/ 631293 w 643112"/>
                <a:gd name="connsiteY86" fmla="*/ 384590 h 556800"/>
                <a:gd name="connsiteX87" fmla="*/ 597208 w 643112"/>
                <a:gd name="connsiteY87" fmla="*/ 175957 h 556800"/>
                <a:gd name="connsiteX88" fmla="*/ 606554 w 643112"/>
                <a:gd name="connsiteY88" fmla="*/ 172108 h 556800"/>
                <a:gd name="connsiteX89" fmla="*/ 615900 w 643112"/>
                <a:gd name="connsiteY89" fmla="*/ 175957 h 556800"/>
                <a:gd name="connsiteX90" fmla="*/ 619748 w 643112"/>
                <a:gd name="connsiteY90" fmla="*/ 185303 h 556800"/>
                <a:gd name="connsiteX91" fmla="*/ 615900 w 643112"/>
                <a:gd name="connsiteY91" fmla="*/ 194648 h 556800"/>
                <a:gd name="connsiteX92" fmla="*/ 606554 w 643112"/>
                <a:gd name="connsiteY92" fmla="*/ 198497 h 556800"/>
                <a:gd name="connsiteX93" fmla="*/ 597208 w 643112"/>
                <a:gd name="connsiteY93" fmla="*/ 194648 h 556800"/>
                <a:gd name="connsiteX94" fmla="*/ 593360 w 643112"/>
                <a:gd name="connsiteY94" fmla="*/ 185303 h 556800"/>
                <a:gd name="connsiteX95" fmla="*/ 597208 w 643112"/>
                <a:gd name="connsiteY95" fmla="*/ 175957 h 556800"/>
                <a:gd name="connsiteX96" fmla="*/ 45252 w 643112"/>
                <a:gd name="connsiteY96" fmla="*/ 45802 h 556800"/>
                <a:gd name="connsiteX97" fmla="*/ 26560 w 643112"/>
                <a:gd name="connsiteY97" fmla="*/ 45802 h 556800"/>
                <a:gd name="connsiteX98" fmla="*/ 26560 w 643112"/>
                <a:gd name="connsiteY98" fmla="*/ 27110 h 556800"/>
                <a:gd name="connsiteX99" fmla="*/ 35906 w 643112"/>
                <a:gd name="connsiteY99" fmla="*/ 23262 h 556800"/>
                <a:gd name="connsiteX100" fmla="*/ 45252 w 643112"/>
                <a:gd name="connsiteY100" fmla="*/ 27110 h 556800"/>
                <a:gd name="connsiteX101" fmla="*/ 45252 w 643112"/>
                <a:gd name="connsiteY101" fmla="*/ 45802 h 556800"/>
                <a:gd name="connsiteX102" fmla="*/ 346107 w 643112"/>
                <a:gd name="connsiteY102" fmla="*/ 74526 h 556800"/>
                <a:gd name="connsiteX103" fmla="*/ 332912 w 643112"/>
                <a:gd name="connsiteY103" fmla="*/ 61332 h 556800"/>
                <a:gd name="connsiteX104" fmla="*/ 346107 w 643112"/>
                <a:gd name="connsiteY104" fmla="*/ 48138 h 556800"/>
                <a:gd name="connsiteX105" fmla="*/ 359301 w 643112"/>
                <a:gd name="connsiteY105" fmla="*/ 61332 h 556800"/>
                <a:gd name="connsiteX106" fmla="*/ 346107 w 643112"/>
                <a:gd name="connsiteY106" fmla="*/ 74526 h 556800"/>
                <a:gd name="connsiteX107" fmla="*/ 581678 w 643112"/>
                <a:gd name="connsiteY107" fmla="*/ 482172 h 556800"/>
                <a:gd name="connsiteX108" fmla="*/ 594872 w 643112"/>
                <a:gd name="connsiteY108" fmla="*/ 495366 h 556800"/>
                <a:gd name="connsiteX109" fmla="*/ 581678 w 643112"/>
                <a:gd name="connsiteY109" fmla="*/ 508560 h 556800"/>
                <a:gd name="connsiteX110" fmla="*/ 568483 w 643112"/>
                <a:gd name="connsiteY110" fmla="*/ 495366 h 556800"/>
                <a:gd name="connsiteX111" fmla="*/ 581678 w 643112"/>
                <a:gd name="connsiteY111" fmla="*/ 482172 h 55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643112" h="556800">
                  <a:moveTo>
                    <a:pt x="631293" y="384590"/>
                  </a:moveTo>
                  <a:lnTo>
                    <a:pt x="444376" y="384590"/>
                  </a:lnTo>
                  <a:lnTo>
                    <a:pt x="444376" y="358201"/>
                  </a:lnTo>
                  <a:lnTo>
                    <a:pt x="494816" y="358201"/>
                  </a:lnTo>
                  <a:cubicBezTo>
                    <a:pt x="501276" y="358201"/>
                    <a:pt x="506361" y="352979"/>
                    <a:pt x="506361" y="346656"/>
                  </a:cubicBezTo>
                  <a:cubicBezTo>
                    <a:pt x="506361" y="340334"/>
                    <a:pt x="501138" y="335111"/>
                    <a:pt x="494816" y="335111"/>
                  </a:cubicBezTo>
                  <a:lnTo>
                    <a:pt x="444376" y="335111"/>
                  </a:lnTo>
                  <a:lnTo>
                    <a:pt x="444376" y="308723"/>
                  </a:lnTo>
                  <a:lnTo>
                    <a:pt x="479423" y="308723"/>
                  </a:lnTo>
                  <a:cubicBezTo>
                    <a:pt x="492479" y="308723"/>
                    <a:pt x="504712" y="303638"/>
                    <a:pt x="513920" y="294429"/>
                  </a:cubicBezTo>
                  <a:lnTo>
                    <a:pt x="590199" y="218151"/>
                  </a:lnTo>
                  <a:cubicBezTo>
                    <a:pt x="595147" y="220624"/>
                    <a:pt x="600644" y="221999"/>
                    <a:pt x="606417" y="221999"/>
                  </a:cubicBezTo>
                  <a:cubicBezTo>
                    <a:pt x="616175" y="221999"/>
                    <a:pt x="625246" y="218151"/>
                    <a:pt x="632118" y="211279"/>
                  </a:cubicBezTo>
                  <a:cubicBezTo>
                    <a:pt x="638990" y="204407"/>
                    <a:pt x="642838" y="195198"/>
                    <a:pt x="642838" y="185577"/>
                  </a:cubicBezTo>
                  <a:cubicBezTo>
                    <a:pt x="642838" y="175819"/>
                    <a:pt x="638990" y="166748"/>
                    <a:pt x="632118" y="159876"/>
                  </a:cubicBezTo>
                  <a:cubicBezTo>
                    <a:pt x="625246" y="153004"/>
                    <a:pt x="616037" y="149156"/>
                    <a:pt x="606417" y="149156"/>
                  </a:cubicBezTo>
                  <a:cubicBezTo>
                    <a:pt x="596658" y="149156"/>
                    <a:pt x="587587" y="153004"/>
                    <a:pt x="580715" y="159876"/>
                  </a:cubicBezTo>
                  <a:cubicBezTo>
                    <a:pt x="573843" y="166748"/>
                    <a:pt x="569995" y="175957"/>
                    <a:pt x="569995" y="185577"/>
                  </a:cubicBezTo>
                  <a:cubicBezTo>
                    <a:pt x="569995" y="191350"/>
                    <a:pt x="571370" y="196847"/>
                    <a:pt x="573843" y="201795"/>
                  </a:cubicBezTo>
                  <a:lnTo>
                    <a:pt x="497565" y="278074"/>
                  </a:lnTo>
                  <a:cubicBezTo>
                    <a:pt x="492754" y="282884"/>
                    <a:pt x="486295" y="285633"/>
                    <a:pt x="479423" y="285633"/>
                  </a:cubicBezTo>
                  <a:lnTo>
                    <a:pt x="444376" y="285633"/>
                  </a:lnTo>
                  <a:lnTo>
                    <a:pt x="444376" y="259795"/>
                  </a:lnTo>
                  <a:cubicBezTo>
                    <a:pt x="444376" y="225985"/>
                    <a:pt x="416888" y="198634"/>
                    <a:pt x="383215" y="198634"/>
                  </a:cubicBezTo>
                  <a:lnTo>
                    <a:pt x="357651" y="198634"/>
                  </a:lnTo>
                  <a:lnTo>
                    <a:pt x="357651" y="95830"/>
                  </a:lnTo>
                  <a:cubicBezTo>
                    <a:pt x="372083" y="91019"/>
                    <a:pt x="382528" y="77275"/>
                    <a:pt x="382528" y="61332"/>
                  </a:cubicBezTo>
                  <a:cubicBezTo>
                    <a:pt x="382528" y="41266"/>
                    <a:pt x="366173" y="24911"/>
                    <a:pt x="346107" y="24911"/>
                  </a:cubicBezTo>
                  <a:cubicBezTo>
                    <a:pt x="326040" y="24911"/>
                    <a:pt x="309685" y="41129"/>
                    <a:pt x="309685" y="61195"/>
                  </a:cubicBezTo>
                  <a:cubicBezTo>
                    <a:pt x="309685" y="77275"/>
                    <a:pt x="320131" y="90882"/>
                    <a:pt x="334562" y="95692"/>
                  </a:cubicBezTo>
                  <a:lnTo>
                    <a:pt x="334562" y="198497"/>
                  </a:lnTo>
                  <a:lnTo>
                    <a:pt x="308173" y="198497"/>
                  </a:lnTo>
                  <a:lnTo>
                    <a:pt x="308173" y="148057"/>
                  </a:lnTo>
                  <a:cubicBezTo>
                    <a:pt x="308173" y="141597"/>
                    <a:pt x="302951" y="136512"/>
                    <a:pt x="296628" y="136512"/>
                  </a:cubicBezTo>
                  <a:cubicBezTo>
                    <a:pt x="290169" y="136512"/>
                    <a:pt x="285084" y="141734"/>
                    <a:pt x="285084" y="148057"/>
                  </a:cubicBezTo>
                  <a:lnTo>
                    <a:pt x="285084" y="198497"/>
                  </a:lnTo>
                  <a:lnTo>
                    <a:pt x="258695" y="198497"/>
                  </a:lnTo>
                  <a:lnTo>
                    <a:pt x="258695" y="11579"/>
                  </a:lnTo>
                  <a:cubicBezTo>
                    <a:pt x="258695" y="5120"/>
                    <a:pt x="253472" y="34"/>
                    <a:pt x="247150" y="34"/>
                  </a:cubicBezTo>
                  <a:cubicBezTo>
                    <a:pt x="240828" y="34"/>
                    <a:pt x="235605" y="5257"/>
                    <a:pt x="235605" y="11579"/>
                  </a:cubicBezTo>
                  <a:lnTo>
                    <a:pt x="235605" y="198497"/>
                  </a:lnTo>
                  <a:lnTo>
                    <a:pt x="209217" y="198497"/>
                  </a:lnTo>
                  <a:lnTo>
                    <a:pt x="209217" y="148057"/>
                  </a:lnTo>
                  <a:cubicBezTo>
                    <a:pt x="209217" y="141597"/>
                    <a:pt x="203994" y="136512"/>
                    <a:pt x="197672" y="136512"/>
                  </a:cubicBezTo>
                  <a:cubicBezTo>
                    <a:pt x="191212" y="136512"/>
                    <a:pt x="186127" y="141734"/>
                    <a:pt x="186127" y="148057"/>
                  </a:cubicBezTo>
                  <a:lnTo>
                    <a:pt x="186127" y="198497"/>
                  </a:lnTo>
                  <a:lnTo>
                    <a:pt x="159739" y="198497"/>
                  </a:lnTo>
                  <a:lnTo>
                    <a:pt x="159739" y="163450"/>
                  </a:lnTo>
                  <a:cubicBezTo>
                    <a:pt x="159739" y="150393"/>
                    <a:pt x="154654" y="138161"/>
                    <a:pt x="145445" y="128952"/>
                  </a:cubicBezTo>
                  <a:lnTo>
                    <a:pt x="69029" y="52536"/>
                  </a:lnTo>
                  <a:cubicBezTo>
                    <a:pt x="75763" y="38930"/>
                    <a:pt x="73564" y="21887"/>
                    <a:pt x="62157" y="10617"/>
                  </a:cubicBezTo>
                  <a:cubicBezTo>
                    <a:pt x="48001" y="-3539"/>
                    <a:pt x="24911" y="-3539"/>
                    <a:pt x="10617" y="10617"/>
                  </a:cubicBezTo>
                  <a:cubicBezTo>
                    <a:pt x="-3539" y="24773"/>
                    <a:pt x="-3539" y="47863"/>
                    <a:pt x="10617" y="62157"/>
                  </a:cubicBezTo>
                  <a:cubicBezTo>
                    <a:pt x="17764" y="69304"/>
                    <a:pt x="27110" y="72740"/>
                    <a:pt x="36318" y="72740"/>
                  </a:cubicBezTo>
                  <a:cubicBezTo>
                    <a:pt x="41816" y="72740"/>
                    <a:pt x="47451" y="71503"/>
                    <a:pt x="52536" y="68891"/>
                  </a:cubicBezTo>
                  <a:lnTo>
                    <a:pt x="128952" y="145308"/>
                  </a:lnTo>
                  <a:cubicBezTo>
                    <a:pt x="133763" y="150118"/>
                    <a:pt x="136512" y="156578"/>
                    <a:pt x="136512" y="163450"/>
                  </a:cubicBezTo>
                  <a:lnTo>
                    <a:pt x="136512" y="198497"/>
                  </a:lnTo>
                  <a:lnTo>
                    <a:pt x="110398" y="198497"/>
                  </a:lnTo>
                  <a:cubicBezTo>
                    <a:pt x="105175" y="198497"/>
                    <a:pt x="100090" y="199184"/>
                    <a:pt x="95142" y="200421"/>
                  </a:cubicBezTo>
                  <a:cubicBezTo>
                    <a:pt x="88958" y="202070"/>
                    <a:pt x="85247" y="208392"/>
                    <a:pt x="86759" y="214577"/>
                  </a:cubicBezTo>
                  <a:cubicBezTo>
                    <a:pt x="88408" y="220762"/>
                    <a:pt x="94730" y="224473"/>
                    <a:pt x="100915" y="222961"/>
                  </a:cubicBezTo>
                  <a:cubicBezTo>
                    <a:pt x="103938" y="222136"/>
                    <a:pt x="107237" y="221724"/>
                    <a:pt x="110398" y="221724"/>
                  </a:cubicBezTo>
                  <a:lnTo>
                    <a:pt x="383353" y="221724"/>
                  </a:lnTo>
                  <a:cubicBezTo>
                    <a:pt x="404381" y="221724"/>
                    <a:pt x="421423" y="238766"/>
                    <a:pt x="421423" y="259795"/>
                  </a:cubicBezTo>
                  <a:lnTo>
                    <a:pt x="421423" y="532749"/>
                  </a:lnTo>
                  <a:cubicBezTo>
                    <a:pt x="421423" y="535910"/>
                    <a:pt x="421011" y="539209"/>
                    <a:pt x="420186" y="542232"/>
                  </a:cubicBezTo>
                  <a:cubicBezTo>
                    <a:pt x="418537" y="548417"/>
                    <a:pt x="422385" y="554739"/>
                    <a:pt x="428570" y="556389"/>
                  </a:cubicBezTo>
                  <a:cubicBezTo>
                    <a:pt x="429532" y="556664"/>
                    <a:pt x="430494" y="556801"/>
                    <a:pt x="431456" y="556801"/>
                  </a:cubicBezTo>
                  <a:cubicBezTo>
                    <a:pt x="436679" y="556801"/>
                    <a:pt x="441352" y="553365"/>
                    <a:pt x="442726" y="548142"/>
                  </a:cubicBezTo>
                  <a:cubicBezTo>
                    <a:pt x="443963" y="543195"/>
                    <a:pt x="444651" y="537972"/>
                    <a:pt x="444651" y="532887"/>
                  </a:cubicBezTo>
                  <a:lnTo>
                    <a:pt x="444651" y="507323"/>
                  </a:lnTo>
                  <a:lnTo>
                    <a:pt x="547455" y="507323"/>
                  </a:lnTo>
                  <a:cubicBezTo>
                    <a:pt x="552266" y="521754"/>
                    <a:pt x="566009" y="532199"/>
                    <a:pt x="581952" y="532199"/>
                  </a:cubicBezTo>
                  <a:cubicBezTo>
                    <a:pt x="602019" y="532199"/>
                    <a:pt x="618374" y="515844"/>
                    <a:pt x="618374" y="495778"/>
                  </a:cubicBezTo>
                  <a:cubicBezTo>
                    <a:pt x="618374" y="475712"/>
                    <a:pt x="602019" y="459357"/>
                    <a:pt x="581952" y="459357"/>
                  </a:cubicBezTo>
                  <a:cubicBezTo>
                    <a:pt x="565872" y="459357"/>
                    <a:pt x="552266" y="469802"/>
                    <a:pt x="547455" y="484233"/>
                  </a:cubicBezTo>
                  <a:lnTo>
                    <a:pt x="444651" y="484233"/>
                  </a:lnTo>
                  <a:lnTo>
                    <a:pt x="444651" y="457845"/>
                  </a:lnTo>
                  <a:lnTo>
                    <a:pt x="495091" y="457845"/>
                  </a:lnTo>
                  <a:cubicBezTo>
                    <a:pt x="501550" y="457845"/>
                    <a:pt x="506636" y="452622"/>
                    <a:pt x="506636" y="446300"/>
                  </a:cubicBezTo>
                  <a:cubicBezTo>
                    <a:pt x="506636" y="439840"/>
                    <a:pt x="501413" y="434755"/>
                    <a:pt x="495091" y="434755"/>
                  </a:cubicBezTo>
                  <a:lnTo>
                    <a:pt x="444651" y="434755"/>
                  </a:lnTo>
                  <a:lnTo>
                    <a:pt x="444651" y="408367"/>
                  </a:lnTo>
                  <a:lnTo>
                    <a:pt x="631568" y="408367"/>
                  </a:lnTo>
                  <a:cubicBezTo>
                    <a:pt x="638028" y="408367"/>
                    <a:pt x="643113" y="403144"/>
                    <a:pt x="643113" y="396822"/>
                  </a:cubicBezTo>
                  <a:cubicBezTo>
                    <a:pt x="643113" y="390499"/>
                    <a:pt x="637753" y="384590"/>
                    <a:pt x="631293" y="384590"/>
                  </a:cubicBezTo>
                  <a:close/>
                  <a:moveTo>
                    <a:pt x="597208" y="175957"/>
                  </a:moveTo>
                  <a:cubicBezTo>
                    <a:pt x="599682" y="173483"/>
                    <a:pt x="602981" y="172108"/>
                    <a:pt x="606554" y="172108"/>
                  </a:cubicBezTo>
                  <a:cubicBezTo>
                    <a:pt x="610127" y="172108"/>
                    <a:pt x="613426" y="173483"/>
                    <a:pt x="615900" y="175957"/>
                  </a:cubicBezTo>
                  <a:cubicBezTo>
                    <a:pt x="618374" y="178431"/>
                    <a:pt x="619748" y="181729"/>
                    <a:pt x="619748" y="185303"/>
                  </a:cubicBezTo>
                  <a:cubicBezTo>
                    <a:pt x="619748" y="188876"/>
                    <a:pt x="618374" y="192175"/>
                    <a:pt x="615900" y="194648"/>
                  </a:cubicBezTo>
                  <a:cubicBezTo>
                    <a:pt x="613426" y="197122"/>
                    <a:pt x="610127" y="198497"/>
                    <a:pt x="606554" y="198497"/>
                  </a:cubicBezTo>
                  <a:cubicBezTo>
                    <a:pt x="602981" y="198497"/>
                    <a:pt x="599682" y="197122"/>
                    <a:pt x="597208" y="194648"/>
                  </a:cubicBezTo>
                  <a:cubicBezTo>
                    <a:pt x="594734" y="192175"/>
                    <a:pt x="593360" y="188876"/>
                    <a:pt x="593360" y="185303"/>
                  </a:cubicBezTo>
                  <a:cubicBezTo>
                    <a:pt x="593360" y="181729"/>
                    <a:pt x="594734" y="178431"/>
                    <a:pt x="597208" y="175957"/>
                  </a:cubicBezTo>
                  <a:close/>
                  <a:moveTo>
                    <a:pt x="45252" y="45802"/>
                  </a:moveTo>
                  <a:cubicBezTo>
                    <a:pt x="40167" y="50887"/>
                    <a:pt x="31783" y="50887"/>
                    <a:pt x="26560" y="45802"/>
                  </a:cubicBezTo>
                  <a:cubicBezTo>
                    <a:pt x="21475" y="40716"/>
                    <a:pt x="21475" y="32333"/>
                    <a:pt x="26560" y="27110"/>
                  </a:cubicBezTo>
                  <a:cubicBezTo>
                    <a:pt x="29171" y="24499"/>
                    <a:pt x="32470" y="23262"/>
                    <a:pt x="35906" y="23262"/>
                  </a:cubicBezTo>
                  <a:cubicBezTo>
                    <a:pt x="39342" y="23262"/>
                    <a:pt x="42641" y="24499"/>
                    <a:pt x="45252" y="27110"/>
                  </a:cubicBezTo>
                  <a:cubicBezTo>
                    <a:pt x="50337" y="32333"/>
                    <a:pt x="50337" y="40579"/>
                    <a:pt x="45252" y="45802"/>
                  </a:cubicBezTo>
                  <a:close/>
                  <a:moveTo>
                    <a:pt x="346107" y="74526"/>
                  </a:moveTo>
                  <a:cubicBezTo>
                    <a:pt x="338822" y="74526"/>
                    <a:pt x="332912" y="68617"/>
                    <a:pt x="332912" y="61332"/>
                  </a:cubicBezTo>
                  <a:cubicBezTo>
                    <a:pt x="332912" y="54048"/>
                    <a:pt x="338822" y="48138"/>
                    <a:pt x="346107" y="48138"/>
                  </a:cubicBezTo>
                  <a:cubicBezTo>
                    <a:pt x="353391" y="48138"/>
                    <a:pt x="359301" y="54048"/>
                    <a:pt x="359301" y="61332"/>
                  </a:cubicBezTo>
                  <a:cubicBezTo>
                    <a:pt x="359301" y="68617"/>
                    <a:pt x="353391" y="74526"/>
                    <a:pt x="346107" y="74526"/>
                  </a:cubicBezTo>
                  <a:close/>
                  <a:moveTo>
                    <a:pt x="581678" y="482172"/>
                  </a:moveTo>
                  <a:cubicBezTo>
                    <a:pt x="588962" y="482172"/>
                    <a:pt x="594872" y="488081"/>
                    <a:pt x="594872" y="495366"/>
                  </a:cubicBezTo>
                  <a:cubicBezTo>
                    <a:pt x="594872" y="502650"/>
                    <a:pt x="588962" y="508560"/>
                    <a:pt x="581678" y="508560"/>
                  </a:cubicBezTo>
                  <a:cubicBezTo>
                    <a:pt x="574393" y="508560"/>
                    <a:pt x="568483" y="502650"/>
                    <a:pt x="568483" y="495366"/>
                  </a:cubicBezTo>
                  <a:cubicBezTo>
                    <a:pt x="568483" y="488219"/>
                    <a:pt x="574393" y="482172"/>
                    <a:pt x="581678" y="482172"/>
                  </a:cubicBez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chemeClr val="bg1"/>
                </a:solidFill>
                <a:latin typeface="Amazon Ember"/>
              </a:endParaRPr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9904CAC2-C1B3-536A-0BBF-7646ABFC1E9B}"/>
                </a:ext>
              </a:extLst>
            </p:cNvPr>
            <p:cNvSpPr/>
            <p:nvPr/>
          </p:nvSpPr>
          <p:spPr>
            <a:xfrm>
              <a:off x="8479832" y="4803926"/>
              <a:ext cx="437905" cy="368903"/>
            </a:xfrm>
            <a:custGeom>
              <a:avLst/>
              <a:gdLst>
                <a:gd name="connsiteX0" fmla="*/ 632771 w 643406"/>
                <a:gd name="connsiteY0" fmla="*/ 494477 h 556461"/>
                <a:gd name="connsiteX1" fmla="*/ 590852 w 643406"/>
                <a:gd name="connsiteY1" fmla="*/ 487605 h 556461"/>
                <a:gd name="connsiteX2" fmla="*/ 514435 w 643406"/>
                <a:gd name="connsiteY2" fmla="*/ 411189 h 556461"/>
                <a:gd name="connsiteX3" fmla="*/ 506876 w 643406"/>
                <a:gd name="connsiteY3" fmla="*/ 393047 h 556461"/>
                <a:gd name="connsiteX4" fmla="*/ 506876 w 643406"/>
                <a:gd name="connsiteY4" fmla="*/ 358000 h 556461"/>
                <a:gd name="connsiteX5" fmla="*/ 532440 w 643406"/>
                <a:gd name="connsiteY5" fmla="*/ 358000 h 556461"/>
                <a:gd name="connsiteX6" fmla="*/ 547696 w 643406"/>
                <a:gd name="connsiteY6" fmla="*/ 356075 h 556461"/>
                <a:gd name="connsiteX7" fmla="*/ 556079 w 643406"/>
                <a:gd name="connsiteY7" fmla="*/ 341919 h 556461"/>
                <a:gd name="connsiteX8" fmla="*/ 541923 w 643406"/>
                <a:gd name="connsiteY8" fmla="*/ 333535 h 556461"/>
                <a:gd name="connsiteX9" fmla="*/ 532440 w 643406"/>
                <a:gd name="connsiteY9" fmla="*/ 334772 h 556461"/>
                <a:gd name="connsiteX10" fmla="*/ 259760 w 643406"/>
                <a:gd name="connsiteY10" fmla="*/ 334772 h 556461"/>
                <a:gd name="connsiteX11" fmla="*/ 221690 w 643406"/>
                <a:gd name="connsiteY11" fmla="*/ 296702 h 556461"/>
                <a:gd name="connsiteX12" fmla="*/ 221690 w 643406"/>
                <a:gd name="connsiteY12" fmla="*/ 24022 h 556461"/>
                <a:gd name="connsiteX13" fmla="*/ 222927 w 643406"/>
                <a:gd name="connsiteY13" fmla="*/ 14539 h 556461"/>
                <a:gd name="connsiteX14" fmla="*/ 214543 w 643406"/>
                <a:gd name="connsiteY14" fmla="*/ 383 h 556461"/>
                <a:gd name="connsiteX15" fmla="*/ 200387 w 643406"/>
                <a:gd name="connsiteY15" fmla="*/ 8766 h 556461"/>
                <a:gd name="connsiteX16" fmla="*/ 198462 w 643406"/>
                <a:gd name="connsiteY16" fmla="*/ 24022 h 556461"/>
                <a:gd name="connsiteX17" fmla="*/ 198462 w 643406"/>
                <a:gd name="connsiteY17" fmla="*/ 49586 h 556461"/>
                <a:gd name="connsiteX18" fmla="*/ 95795 w 643406"/>
                <a:gd name="connsiteY18" fmla="*/ 49586 h 556461"/>
                <a:gd name="connsiteX19" fmla="*/ 61298 w 643406"/>
                <a:gd name="connsiteY19" fmla="*/ 24709 h 556461"/>
                <a:gd name="connsiteX20" fmla="*/ 24877 w 643406"/>
                <a:gd name="connsiteY20" fmla="*/ 61131 h 556461"/>
                <a:gd name="connsiteX21" fmla="*/ 61298 w 643406"/>
                <a:gd name="connsiteY21" fmla="*/ 97552 h 556461"/>
                <a:gd name="connsiteX22" fmla="*/ 95795 w 643406"/>
                <a:gd name="connsiteY22" fmla="*/ 72676 h 556461"/>
                <a:gd name="connsiteX23" fmla="*/ 198600 w 643406"/>
                <a:gd name="connsiteY23" fmla="*/ 72676 h 556461"/>
                <a:gd name="connsiteX24" fmla="*/ 198600 w 643406"/>
                <a:gd name="connsiteY24" fmla="*/ 99064 h 556461"/>
                <a:gd name="connsiteX25" fmla="*/ 148160 w 643406"/>
                <a:gd name="connsiteY25" fmla="*/ 99064 h 556461"/>
                <a:gd name="connsiteX26" fmla="*/ 136615 w 643406"/>
                <a:gd name="connsiteY26" fmla="*/ 110609 h 556461"/>
                <a:gd name="connsiteX27" fmla="*/ 148160 w 643406"/>
                <a:gd name="connsiteY27" fmla="*/ 122154 h 556461"/>
                <a:gd name="connsiteX28" fmla="*/ 198600 w 643406"/>
                <a:gd name="connsiteY28" fmla="*/ 122154 h 556461"/>
                <a:gd name="connsiteX29" fmla="*/ 198600 w 643406"/>
                <a:gd name="connsiteY29" fmla="*/ 148542 h 556461"/>
                <a:gd name="connsiteX30" fmla="*/ 11545 w 643406"/>
                <a:gd name="connsiteY30" fmla="*/ 148542 h 556461"/>
                <a:gd name="connsiteX31" fmla="*/ 0 w 643406"/>
                <a:gd name="connsiteY31" fmla="*/ 160362 h 556461"/>
                <a:gd name="connsiteX32" fmla="*/ 11545 w 643406"/>
                <a:gd name="connsiteY32" fmla="*/ 171907 h 556461"/>
                <a:gd name="connsiteX33" fmla="*/ 198462 w 643406"/>
                <a:gd name="connsiteY33" fmla="*/ 171907 h 556461"/>
                <a:gd name="connsiteX34" fmla="*/ 198462 w 643406"/>
                <a:gd name="connsiteY34" fmla="*/ 198295 h 556461"/>
                <a:gd name="connsiteX35" fmla="*/ 148022 w 643406"/>
                <a:gd name="connsiteY35" fmla="*/ 198295 h 556461"/>
                <a:gd name="connsiteX36" fmla="*/ 136477 w 643406"/>
                <a:gd name="connsiteY36" fmla="*/ 209840 h 556461"/>
                <a:gd name="connsiteX37" fmla="*/ 148022 w 643406"/>
                <a:gd name="connsiteY37" fmla="*/ 221385 h 556461"/>
                <a:gd name="connsiteX38" fmla="*/ 198462 w 643406"/>
                <a:gd name="connsiteY38" fmla="*/ 221385 h 556461"/>
                <a:gd name="connsiteX39" fmla="*/ 198462 w 643406"/>
                <a:gd name="connsiteY39" fmla="*/ 247773 h 556461"/>
                <a:gd name="connsiteX40" fmla="*/ 163415 w 643406"/>
                <a:gd name="connsiteY40" fmla="*/ 247773 h 556461"/>
                <a:gd name="connsiteX41" fmla="*/ 128918 w 643406"/>
                <a:gd name="connsiteY41" fmla="*/ 262067 h 556461"/>
                <a:gd name="connsiteX42" fmla="*/ 52639 w 643406"/>
                <a:gd name="connsiteY42" fmla="*/ 338758 h 556461"/>
                <a:gd name="connsiteX43" fmla="*/ 36421 w 643406"/>
                <a:gd name="connsiteY43" fmla="*/ 334910 h 556461"/>
                <a:gd name="connsiteX44" fmla="*/ 10720 w 643406"/>
                <a:gd name="connsiteY44" fmla="*/ 345630 h 556461"/>
                <a:gd name="connsiteX45" fmla="*/ 0 w 643406"/>
                <a:gd name="connsiteY45" fmla="*/ 371331 h 556461"/>
                <a:gd name="connsiteX46" fmla="*/ 10720 w 643406"/>
                <a:gd name="connsiteY46" fmla="*/ 397032 h 556461"/>
                <a:gd name="connsiteX47" fmla="*/ 36421 w 643406"/>
                <a:gd name="connsiteY47" fmla="*/ 407753 h 556461"/>
                <a:gd name="connsiteX48" fmla="*/ 62123 w 643406"/>
                <a:gd name="connsiteY48" fmla="*/ 397032 h 556461"/>
                <a:gd name="connsiteX49" fmla="*/ 72843 w 643406"/>
                <a:gd name="connsiteY49" fmla="*/ 371331 h 556461"/>
                <a:gd name="connsiteX50" fmla="*/ 68995 w 643406"/>
                <a:gd name="connsiteY50" fmla="*/ 355113 h 556461"/>
                <a:gd name="connsiteX51" fmla="*/ 145273 w 643406"/>
                <a:gd name="connsiteY51" fmla="*/ 278835 h 556461"/>
                <a:gd name="connsiteX52" fmla="*/ 163415 w 643406"/>
                <a:gd name="connsiteY52" fmla="*/ 271275 h 556461"/>
                <a:gd name="connsiteX53" fmla="*/ 198462 w 643406"/>
                <a:gd name="connsiteY53" fmla="*/ 271275 h 556461"/>
                <a:gd name="connsiteX54" fmla="*/ 198462 w 643406"/>
                <a:gd name="connsiteY54" fmla="*/ 296839 h 556461"/>
                <a:gd name="connsiteX55" fmla="*/ 259623 w 643406"/>
                <a:gd name="connsiteY55" fmla="*/ 358000 h 556461"/>
                <a:gd name="connsiteX56" fmla="*/ 285187 w 643406"/>
                <a:gd name="connsiteY56" fmla="*/ 358000 h 556461"/>
                <a:gd name="connsiteX57" fmla="*/ 285187 w 643406"/>
                <a:gd name="connsiteY57" fmla="*/ 460804 h 556461"/>
                <a:gd name="connsiteX58" fmla="*/ 260310 w 643406"/>
                <a:gd name="connsiteY58" fmla="*/ 495301 h 556461"/>
                <a:gd name="connsiteX59" fmla="*/ 296731 w 643406"/>
                <a:gd name="connsiteY59" fmla="*/ 531723 h 556461"/>
                <a:gd name="connsiteX60" fmla="*/ 333153 w 643406"/>
                <a:gd name="connsiteY60" fmla="*/ 495301 h 556461"/>
                <a:gd name="connsiteX61" fmla="*/ 308276 w 643406"/>
                <a:gd name="connsiteY61" fmla="*/ 460804 h 556461"/>
                <a:gd name="connsiteX62" fmla="*/ 308276 w 643406"/>
                <a:gd name="connsiteY62" fmla="*/ 358000 h 556461"/>
                <a:gd name="connsiteX63" fmla="*/ 334665 w 643406"/>
                <a:gd name="connsiteY63" fmla="*/ 358000 h 556461"/>
                <a:gd name="connsiteX64" fmla="*/ 334665 w 643406"/>
                <a:gd name="connsiteY64" fmla="*/ 408440 h 556461"/>
                <a:gd name="connsiteX65" fmla="*/ 346210 w 643406"/>
                <a:gd name="connsiteY65" fmla="*/ 419985 h 556461"/>
                <a:gd name="connsiteX66" fmla="*/ 357755 w 643406"/>
                <a:gd name="connsiteY66" fmla="*/ 408440 h 556461"/>
                <a:gd name="connsiteX67" fmla="*/ 357755 w 643406"/>
                <a:gd name="connsiteY67" fmla="*/ 358000 h 556461"/>
                <a:gd name="connsiteX68" fmla="*/ 384143 w 643406"/>
                <a:gd name="connsiteY68" fmla="*/ 358000 h 556461"/>
                <a:gd name="connsiteX69" fmla="*/ 384143 w 643406"/>
                <a:gd name="connsiteY69" fmla="*/ 544917 h 556461"/>
                <a:gd name="connsiteX70" fmla="*/ 395688 w 643406"/>
                <a:gd name="connsiteY70" fmla="*/ 556462 h 556461"/>
                <a:gd name="connsiteX71" fmla="*/ 407233 w 643406"/>
                <a:gd name="connsiteY71" fmla="*/ 544917 h 556461"/>
                <a:gd name="connsiteX72" fmla="*/ 407233 w 643406"/>
                <a:gd name="connsiteY72" fmla="*/ 358000 h 556461"/>
                <a:gd name="connsiteX73" fmla="*/ 433621 w 643406"/>
                <a:gd name="connsiteY73" fmla="*/ 358000 h 556461"/>
                <a:gd name="connsiteX74" fmla="*/ 433621 w 643406"/>
                <a:gd name="connsiteY74" fmla="*/ 408440 h 556461"/>
                <a:gd name="connsiteX75" fmla="*/ 445166 w 643406"/>
                <a:gd name="connsiteY75" fmla="*/ 419985 h 556461"/>
                <a:gd name="connsiteX76" fmla="*/ 456711 w 643406"/>
                <a:gd name="connsiteY76" fmla="*/ 408440 h 556461"/>
                <a:gd name="connsiteX77" fmla="*/ 456711 w 643406"/>
                <a:gd name="connsiteY77" fmla="*/ 358000 h 556461"/>
                <a:gd name="connsiteX78" fmla="*/ 483099 w 643406"/>
                <a:gd name="connsiteY78" fmla="*/ 358000 h 556461"/>
                <a:gd name="connsiteX79" fmla="*/ 483099 w 643406"/>
                <a:gd name="connsiteY79" fmla="*/ 393047 h 556461"/>
                <a:gd name="connsiteX80" fmla="*/ 497393 w 643406"/>
                <a:gd name="connsiteY80" fmla="*/ 427544 h 556461"/>
                <a:gd name="connsiteX81" fmla="*/ 573809 w 643406"/>
                <a:gd name="connsiteY81" fmla="*/ 503960 h 556461"/>
                <a:gd name="connsiteX82" fmla="*/ 580681 w 643406"/>
                <a:gd name="connsiteY82" fmla="*/ 545879 h 556461"/>
                <a:gd name="connsiteX83" fmla="*/ 606382 w 643406"/>
                <a:gd name="connsiteY83" fmla="*/ 556462 h 556461"/>
                <a:gd name="connsiteX84" fmla="*/ 632083 w 643406"/>
                <a:gd name="connsiteY84" fmla="*/ 545879 h 556461"/>
                <a:gd name="connsiteX85" fmla="*/ 632771 w 643406"/>
                <a:gd name="connsiteY85" fmla="*/ 494477 h 556461"/>
                <a:gd name="connsiteX86" fmla="*/ 61160 w 643406"/>
                <a:gd name="connsiteY86" fmla="*/ 74325 h 556461"/>
                <a:gd name="connsiteX87" fmla="*/ 47966 w 643406"/>
                <a:gd name="connsiteY87" fmla="*/ 61131 h 556461"/>
                <a:gd name="connsiteX88" fmla="*/ 61160 w 643406"/>
                <a:gd name="connsiteY88" fmla="*/ 47937 h 556461"/>
                <a:gd name="connsiteX89" fmla="*/ 74355 w 643406"/>
                <a:gd name="connsiteY89" fmla="*/ 61131 h 556461"/>
                <a:gd name="connsiteX90" fmla="*/ 61160 w 643406"/>
                <a:gd name="connsiteY90" fmla="*/ 74325 h 556461"/>
                <a:gd name="connsiteX91" fmla="*/ 45767 w 643406"/>
                <a:gd name="connsiteY91" fmla="*/ 380677 h 556461"/>
                <a:gd name="connsiteX92" fmla="*/ 36421 w 643406"/>
                <a:gd name="connsiteY92" fmla="*/ 384525 h 556461"/>
                <a:gd name="connsiteX93" fmla="*/ 27076 w 643406"/>
                <a:gd name="connsiteY93" fmla="*/ 380677 h 556461"/>
                <a:gd name="connsiteX94" fmla="*/ 23227 w 643406"/>
                <a:gd name="connsiteY94" fmla="*/ 371331 h 556461"/>
                <a:gd name="connsiteX95" fmla="*/ 27076 w 643406"/>
                <a:gd name="connsiteY95" fmla="*/ 361985 h 556461"/>
                <a:gd name="connsiteX96" fmla="*/ 36421 w 643406"/>
                <a:gd name="connsiteY96" fmla="*/ 358137 h 556461"/>
                <a:gd name="connsiteX97" fmla="*/ 45767 w 643406"/>
                <a:gd name="connsiteY97" fmla="*/ 361985 h 556461"/>
                <a:gd name="connsiteX98" fmla="*/ 49616 w 643406"/>
                <a:gd name="connsiteY98" fmla="*/ 371331 h 556461"/>
                <a:gd name="connsiteX99" fmla="*/ 45767 w 643406"/>
                <a:gd name="connsiteY99" fmla="*/ 380677 h 556461"/>
                <a:gd name="connsiteX100" fmla="*/ 310063 w 643406"/>
                <a:gd name="connsiteY100" fmla="*/ 495301 h 556461"/>
                <a:gd name="connsiteX101" fmla="*/ 296869 w 643406"/>
                <a:gd name="connsiteY101" fmla="*/ 508496 h 556461"/>
                <a:gd name="connsiteX102" fmla="*/ 283675 w 643406"/>
                <a:gd name="connsiteY102" fmla="*/ 495301 h 556461"/>
                <a:gd name="connsiteX103" fmla="*/ 296869 w 643406"/>
                <a:gd name="connsiteY103" fmla="*/ 482107 h 556461"/>
                <a:gd name="connsiteX104" fmla="*/ 310063 w 643406"/>
                <a:gd name="connsiteY104" fmla="*/ 495301 h 556461"/>
                <a:gd name="connsiteX105" fmla="*/ 616415 w 643406"/>
                <a:gd name="connsiteY105" fmla="*/ 529524 h 556461"/>
                <a:gd name="connsiteX106" fmla="*/ 597724 w 643406"/>
                <a:gd name="connsiteY106" fmla="*/ 529524 h 556461"/>
                <a:gd name="connsiteX107" fmla="*/ 597724 w 643406"/>
                <a:gd name="connsiteY107" fmla="*/ 510832 h 556461"/>
                <a:gd name="connsiteX108" fmla="*/ 607069 w 643406"/>
                <a:gd name="connsiteY108" fmla="*/ 506984 h 556461"/>
                <a:gd name="connsiteX109" fmla="*/ 616415 w 643406"/>
                <a:gd name="connsiteY109" fmla="*/ 510832 h 556461"/>
                <a:gd name="connsiteX110" fmla="*/ 616415 w 643406"/>
                <a:gd name="connsiteY110" fmla="*/ 529524 h 556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643406" h="556461">
                  <a:moveTo>
                    <a:pt x="632771" y="494477"/>
                  </a:moveTo>
                  <a:cubicBezTo>
                    <a:pt x="621501" y="483207"/>
                    <a:pt x="604458" y="480870"/>
                    <a:pt x="590852" y="487605"/>
                  </a:cubicBezTo>
                  <a:lnTo>
                    <a:pt x="514435" y="411189"/>
                  </a:lnTo>
                  <a:cubicBezTo>
                    <a:pt x="509625" y="406378"/>
                    <a:pt x="506876" y="399919"/>
                    <a:pt x="506876" y="393047"/>
                  </a:cubicBezTo>
                  <a:lnTo>
                    <a:pt x="506876" y="358000"/>
                  </a:lnTo>
                  <a:lnTo>
                    <a:pt x="532440" y="358000"/>
                  </a:lnTo>
                  <a:cubicBezTo>
                    <a:pt x="537663" y="358000"/>
                    <a:pt x="542748" y="357312"/>
                    <a:pt x="547696" y="356075"/>
                  </a:cubicBezTo>
                  <a:cubicBezTo>
                    <a:pt x="553880" y="354426"/>
                    <a:pt x="557591" y="348104"/>
                    <a:pt x="556079" y="341919"/>
                  </a:cubicBezTo>
                  <a:cubicBezTo>
                    <a:pt x="554430" y="335734"/>
                    <a:pt x="548108" y="332024"/>
                    <a:pt x="541923" y="333535"/>
                  </a:cubicBezTo>
                  <a:cubicBezTo>
                    <a:pt x="538900" y="334360"/>
                    <a:pt x="535601" y="334772"/>
                    <a:pt x="532440" y="334772"/>
                  </a:cubicBezTo>
                  <a:lnTo>
                    <a:pt x="259760" y="334772"/>
                  </a:lnTo>
                  <a:cubicBezTo>
                    <a:pt x="238732" y="334772"/>
                    <a:pt x="221690" y="317730"/>
                    <a:pt x="221690" y="296702"/>
                  </a:cubicBezTo>
                  <a:lnTo>
                    <a:pt x="221690" y="24022"/>
                  </a:lnTo>
                  <a:cubicBezTo>
                    <a:pt x="221690" y="20861"/>
                    <a:pt x="222102" y="17562"/>
                    <a:pt x="222927" y="14539"/>
                  </a:cubicBezTo>
                  <a:cubicBezTo>
                    <a:pt x="224576" y="8354"/>
                    <a:pt x="220728" y="2032"/>
                    <a:pt x="214543" y="383"/>
                  </a:cubicBezTo>
                  <a:cubicBezTo>
                    <a:pt x="208358" y="-1267"/>
                    <a:pt x="202036" y="2582"/>
                    <a:pt x="200387" y="8766"/>
                  </a:cubicBezTo>
                  <a:cubicBezTo>
                    <a:pt x="199150" y="13714"/>
                    <a:pt x="198462" y="18937"/>
                    <a:pt x="198462" y="24022"/>
                  </a:cubicBezTo>
                  <a:lnTo>
                    <a:pt x="198462" y="49586"/>
                  </a:lnTo>
                  <a:lnTo>
                    <a:pt x="95795" y="49586"/>
                  </a:lnTo>
                  <a:cubicBezTo>
                    <a:pt x="90985" y="35155"/>
                    <a:pt x="77241" y="24709"/>
                    <a:pt x="61298" y="24709"/>
                  </a:cubicBezTo>
                  <a:cubicBezTo>
                    <a:pt x="41232" y="24709"/>
                    <a:pt x="24877" y="41065"/>
                    <a:pt x="24877" y="61131"/>
                  </a:cubicBezTo>
                  <a:cubicBezTo>
                    <a:pt x="24877" y="81197"/>
                    <a:pt x="41232" y="97552"/>
                    <a:pt x="61298" y="97552"/>
                  </a:cubicBezTo>
                  <a:cubicBezTo>
                    <a:pt x="77378" y="97552"/>
                    <a:pt x="90985" y="87107"/>
                    <a:pt x="95795" y="72676"/>
                  </a:cubicBezTo>
                  <a:lnTo>
                    <a:pt x="198600" y="72676"/>
                  </a:lnTo>
                  <a:lnTo>
                    <a:pt x="198600" y="99064"/>
                  </a:lnTo>
                  <a:lnTo>
                    <a:pt x="148160" y="99064"/>
                  </a:lnTo>
                  <a:cubicBezTo>
                    <a:pt x="141700" y="99064"/>
                    <a:pt x="136615" y="104287"/>
                    <a:pt x="136615" y="110609"/>
                  </a:cubicBezTo>
                  <a:cubicBezTo>
                    <a:pt x="136615" y="116931"/>
                    <a:pt x="141837" y="122154"/>
                    <a:pt x="148160" y="122154"/>
                  </a:cubicBezTo>
                  <a:lnTo>
                    <a:pt x="198600" y="122154"/>
                  </a:lnTo>
                  <a:lnTo>
                    <a:pt x="198600" y="148542"/>
                  </a:lnTo>
                  <a:lnTo>
                    <a:pt x="11545" y="148542"/>
                  </a:lnTo>
                  <a:cubicBezTo>
                    <a:pt x="5223" y="148817"/>
                    <a:pt x="0" y="154040"/>
                    <a:pt x="0" y="160362"/>
                  </a:cubicBezTo>
                  <a:cubicBezTo>
                    <a:pt x="0" y="166684"/>
                    <a:pt x="5223" y="171907"/>
                    <a:pt x="11545" y="171907"/>
                  </a:cubicBezTo>
                  <a:lnTo>
                    <a:pt x="198462" y="171907"/>
                  </a:lnTo>
                  <a:lnTo>
                    <a:pt x="198462" y="198295"/>
                  </a:lnTo>
                  <a:lnTo>
                    <a:pt x="148022" y="198295"/>
                  </a:lnTo>
                  <a:cubicBezTo>
                    <a:pt x="141563" y="198295"/>
                    <a:pt x="136477" y="203518"/>
                    <a:pt x="136477" y="209840"/>
                  </a:cubicBezTo>
                  <a:cubicBezTo>
                    <a:pt x="136477" y="216300"/>
                    <a:pt x="141700" y="221385"/>
                    <a:pt x="148022" y="221385"/>
                  </a:cubicBezTo>
                  <a:lnTo>
                    <a:pt x="198462" y="221385"/>
                  </a:lnTo>
                  <a:lnTo>
                    <a:pt x="198462" y="247773"/>
                  </a:lnTo>
                  <a:lnTo>
                    <a:pt x="163415" y="247773"/>
                  </a:lnTo>
                  <a:cubicBezTo>
                    <a:pt x="150359" y="247773"/>
                    <a:pt x="138127" y="252859"/>
                    <a:pt x="128918" y="262067"/>
                  </a:cubicBezTo>
                  <a:lnTo>
                    <a:pt x="52639" y="338758"/>
                  </a:lnTo>
                  <a:cubicBezTo>
                    <a:pt x="47691" y="336284"/>
                    <a:pt x="42194" y="334910"/>
                    <a:pt x="36421" y="334910"/>
                  </a:cubicBezTo>
                  <a:cubicBezTo>
                    <a:pt x="26663" y="334910"/>
                    <a:pt x="17592" y="338758"/>
                    <a:pt x="10720" y="345630"/>
                  </a:cubicBezTo>
                  <a:cubicBezTo>
                    <a:pt x="3848" y="352502"/>
                    <a:pt x="0" y="361573"/>
                    <a:pt x="0" y="371331"/>
                  </a:cubicBezTo>
                  <a:cubicBezTo>
                    <a:pt x="0" y="381089"/>
                    <a:pt x="3848" y="390160"/>
                    <a:pt x="10720" y="397032"/>
                  </a:cubicBezTo>
                  <a:cubicBezTo>
                    <a:pt x="17592" y="403904"/>
                    <a:pt x="26801" y="407753"/>
                    <a:pt x="36421" y="407753"/>
                  </a:cubicBezTo>
                  <a:cubicBezTo>
                    <a:pt x="46042" y="407753"/>
                    <a:pt x="55251" y="403904"/>
                    <a:pt x="62123" y="397032"/>
                  </a:cubicBezTo>
                  <a:cubicBezTo>
                    <a:pt x="68995" y="390160"/>
                    <a:pt x="72843" y="380952"/>
                    <a:pt x="72843" y="371331"/>
                  </a:cubicBezTo>
                  <a:cubicBezTo>
                    <a:pt x="72843" y="365559"/>
                    <a:pt x="71468" y="360061"/>
                    <a:pt x="68995" y="355113"/>
                  </a:cubicBezTo>
                  <a:lnTo>
                    <a:pt x="145273" y="278835"/>
                  </a:lnTo>
                  <a:cubicBezTo>
                    <a:pt x="150084" y="274024"/>
                    <a:pt x="156543" y="271275"/>
                    <a:pt x="163415" y="271275"/>
                  </a:cubicBezTo>
                  <a:lnTo>
                    <a:pt x="198462" y="271275"/>
                  </a:lnTo>
                  <a:lnTo>
                    <a:pt x="198462" y="296839"/>
                  </a:lnTo>
                  <a:cubicBezTo>
                    <a:pt x="198462" y="330649"/>
                    <a:pt x="225950" y="358000"/>
                    <a:pt x="259623" y="358000"/>
                  </a:cubicBezTo>
                  <a:lnTo>
                    <a:pt x="285187" y="358000"/>
                  </a:lnTo>
                  <a:lnTo>
                    <a:pt x="285187" y="460804"/>
                  </a:lnTo>
                  <a:cubicBezTo>
                    <a:pt x="270755" y="465615"/>
                    <a:pt x="260310" y="479359"/>
                    <a:pt x="260310" y="495301"/>
                  </a:cubicBezTo>
                  <a:cubicBezTo>
                    <a:pt x="260310" y="515368"/>
                    <a:pt x="276665" y="531723"/>
                    <a:pt x="296731" y="531723"/>
                  </a:cubicBezTo>
                  <a:cubicBezTo>
                    <a:pt x="316798" y="531723"/>
                    <a:pt x="333153" y="515368"/>
                    <a:pt x="333153" y="495301"/>
                  </a:cubicBezTo>
                  <a:cubicBezTo>
                    <a:pt x="333153" y="479221"/>
                    <a:pt x="322708" y="465615"/>
                    <a:pt x="308276" y="460804"/>
                  </a:cubicBezTo>
                  <a:lnTo>
                    <a:pt x="308276" y="358000"/>
                  </a:lnTo>
                  <a:lnTo>
                    <a:pt x="334665" y="358000"/>
                  </a:lnTo>
                  <a:lnTo>
                    <a:pt x="334665" y="408440"/>
                  </a:lnTo>
                  <a:cubicBezTo>
                    <a:pt x="334665" y="414899"/>
                    <a:pt x="339887" y="419985"/>
                    <a:pt x="346210" y="419985"/>
                  </a:cubicBezTo>
                  <a:cubicBezTo>
                    <a:pt x="352532" y="419985"/>
                    <a:pt x="357755" y="414762"/>
                    <a:pt x="357755" y="408440"/>
                  </a:cubicBezTo>
                  <a:lnTo>
                    <a:pt x="357755" y="358000"/>
                  </a:lnTo>
                  <a:lnTo>
                    <a:pt x="384143" y="358000"/>
                  </a:lnTo>
                  <a:lnTo>
                    <a:pt x="384143" y="544917"/>
                  </a:lnTo>
                  <a:cubicBezTo>
                    <a:pt x="384143" y="551377"/>
                    <a:pt x="389366" y="556462"/>
                    <a:pt x="395688" y="556462"/>
                  </a:cubicBezTo>
                  <a:cubicBezTo>
                    <a:pt x="402010" y="556462"/>
                    <a:pt x="407233" y="551239"/>
                    <a:pt x="407233" y="544917"/>
                  </a:cubicBezTo>
                  <a:lnTo>
                    <a:pt x="407233" y="358000"/>
                  </a:lnTo>
                  <a:lnTo>
                    <a:pt x="433621" y="358000"/>
                  </a:lnTo>
                  <a:lnTo>
                    <a:pt x="433621" y="408440"/>
                  </a:lnTo>
                  <a:cubicBezTo>
                    <a:pt x="433621" y="414899"/>
                    <a:pt x="438844" y="419985"/>
                    <a:pt x="445166" y="419985"/>
                  </a:cubicBezTo>
                  <a:cubicBezTo>
                    <a:pt x="451626" y="419985"/>
                    <a:pt x="456711" y="414762"/>
                    <a:pt x="456711" y="408440"/>
                  </a:cubicBezTo>
                  <a:lnTo>
                    <a:pt x="456711" y="358000"/>
                  </a:lnTo>
                  <a:lnTo>
                    <a:pt x="483099" y="358000"/>
                  </a:lnTo>
                  <a:lnTo>
                    <a:pt x="483099" y="393047"/>
                  </a:lnTo>
                  <a:cubicBezTo>
                    <a:pt x="483099" y="406103"/>
                    <a:pt x="488184" y="418335"/>
                    <a:pt x="497393" y="427544"/>
                  </a:cubicBezTo>
                  <a:lnTo>
                    <a:pt x="573809" y="503960"/>
                  </a:lnTo>
                  <a:cubicBezTo>
                    <a:pt x="567075" y="517567"/>
                    <a:pt x="569274" y="534609"/>
                    <a:pt x="580681" y="545879"/>
                  </a:cubicBezTo>
                  <a:cubicBezTo>
                    <a:pt x="587828" y="553026"/>
                    <a:pt x="597174" y="556462"/>
                    <a:pt x="606382" y="556462"/>
                  </a:cubicBezTo>
                  <a:cubicBezTo>
                    <a:pt x="615728" y="556462"/>
                    <a:pt x="625074" y="552889"/>
                    <a:pt x="632083" y="545879"/>
                  </a:cubicBezTo>
                  <a:cubicBezTo>
                    <a:pt x="647064" y="531723"/>
                    <a:pt x="647064" y="508633"/>
                    <a:pt x="632771" y="494477"/>
                  </a:cubicBezTo>
                  <a:close/>
                  <a:moveTo>
                    <a:pt x="61160" y="74325"/>
                  </a:moveTo>
                  <a:cubicBezTo>
                    <a:pt x="53876" y="74325"/>
                    <a:pt x="47966" y="68415"/>
                    <a:pt x="47966" y="61131"/>
                  </a:cubicBezTo>
                  <a:cubicBezTo>
                    <a:pt x="47966" y="53846"/>
                    <a:pt x="53876" y="47937"/>
                    <a:pt x="61160" y="47937"/>
                  </a:cubicBezTo>
                  <a:cubicBezTo>
                    <a:pt x="68445" y="47937"/>
                    <a:pt x="74355" y="53846"/>
                    <a:pt x="74355" y="61131"/>
                  </a:cubicBezTo>
                  <a:cubicBezTo>
                    <a:pt x="74492" y="68415"/>
                    <a:pt x="68445" y="74325"/>
                    <a:pt x="61160" y="74325"/>
                  </a:cubicBezTo>
                  <a:close/>
                  <a:moveTo>
                    <a:pt x="45767" y="380677"/>
                  </a:moveTo>
                  <a:cubicBezTo>
                    <a:pt x="43293" y="383151"/>
                    <a:pt x="39995" y="384525"/>
                    <a:pt x="36421" y="384525"/>
                  </a:cubicBezTo>
                  <a:cubicBezTo>
                    <a:pt x="32848" y="384525"/>
                    <a:pt x="29549" y="383151"/>
                    <a:pt x="27076" y="380677"/>
                  </a:cubicBezTo>
                  <a:cubicBezTo>
                    <a:pt x="24602" y="378203"/>
                    <a:pt x="23227" y="374905"/>
                    <a:pt x="23227" y="371331"/>
                  </a:cubicBezTo>
                  <a:cubicBezTo>
                    <a:pt x="23227" y="367758"/>
                    <a:pt x="24602" y="364459"/>
                    <a:pt x="27076" y="361985"/>
                  </a:cubicBezTo>
                  <a:cubicBezTo>
                    <a:pt x="29549" y="359511"/>
                    <a:pt x="32848" y="358137"/>
                    <a:pt x="36421" y="358137"/>
                  </a:cubicBezTo>
                  <a:cubicBezTo>
                    <a:pt x="39995" y="358137"/>
                    <a:pt x="43293" y="359511"/>
                    <a:pt x="45767" y="361985"/>
                  </a:cubicBezTo>
                  <a:cubicBezTo>
                    <a:pt x="48241" y="364459"/>
                    <a:pt x="49616" y="367758"/>
                    <a:pt x="49616" y="371331"/>
                  </a:cubicBezTo>
                  <a:cubicBezTo>
                    <a:pt x="49616" y="374905"/>
                    <a:pt x="48241" y="378203"/>
                    <a:pt x="45767" y="380677"/>
                  </a:cubicBezTo>
                  <a:close/>
                  <a:moveTo>
                    <a:pt x="310063" y="495301"/>
                  </a:moveTo>
                  <a:cubicBezTo>
                    <a:pt x="310063" y="502586"/>
                    <a:pt x="304153" y="508496"/>
                    <a:pt x="296869" y="508496"/>
                  </a:cubicBezTo>
                  <a:cubicBezTo>
                    <a:pt x="289585" y="508496"/>
                    <a:pt x="283675" y="502586"/>
                    <a:pt x="283675" y="495301"/>
                  </a:cubicBezTo>
                  <a:cubicBezTo>
                    <a:pt x="283675" y="488017"/>
                    <a:pt x="289585" y="482107"/>
                    <a:pt x="296869" y="482107"/>
                  </a:cubicBezTo>
                  <a:cubicBezTo>
                    <a:pt x="304153" y="482107"/>
                    <a:pt x="310063" y="488155"/>
                    <a:pt x="310063" y="495301"/>
                  </a:cubicBezTo>
                  <a:close/>
                  <a:moveTo>
                    <a:pt x="616415" y="529524"/>
                  </a:moveTo>
                  <a:cubicBezTo>
                    <a:pt x="611330" y="534609"/>
                    <a:pt x="602946" y="534609"/>
                    <a:pt x="597724" y="529524"/>
                  </a:cubicBezTo>
                  <a:cubicBezTo>
                    <a:pt x="592638" y="524439"/>
                    <a:pt x="592638" y="516055"/>
                    <a:pt x="597724" y="510832"/>
                  </a:cubicBezTo>
                  <a:cubicBezTo>
                    <a:pt x="600335" y="508221"/>
                    <a:pt x="603633" y="506984"/>
                    <a:pt x="607069" y="506984"/>
                  </a:cubicBezTo>
                  <a:cubicBezTo>
                    <a:pt x="610505" y="506984"/>
                    <a:pt x="613804" y="508221"/>
                    <a:pt x="616415" y="510832"/>
                  </a:cubicBezTo>
                  <a:cubicBezTo>
                    <a:pt x="621501" y="516055"/>
                    <a:pt x="621501" y="524301"/>
                    <a:pt x="616415" y="529524"/>
                  </a:cubicBez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 dirty="0">
                <a:solidFill>
                  <a:srgbClr val="FFFFFF"/>
                </a:solidFill>
                <a:latin typeface="Amazon Ember"/>
              </a:endParaRPr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33BC8CD1-674B-3A63-9910-27C9939496A7}"/>
                </a:ext>
              </a:extLst>
            </p:cNvPr>
            <p:cNvSpPr/>
            <p:nvPr/>
          </p:nvSpPr>
          <p:spPr>
            <a:xfrm>
              <a:off x="8665512" y="4820398"/>
              <a:ext cx="167814" cy="179769"/>
            </a:xfrm>
            <a:custGeom>
              <a:avLst/>
              <a:gdLst>
                <a:gd name="connsiteX0" fmla="*/ 246566 w 246566"/>
                <a:gd name="connsiteY0" fmla="*/ 104591 h 271167"/>
                <a:gd name="connsiteX1" fmla="*/ 203548 w 246566"/>
                <a:gd name="connsiteY1" fmla="*/ 51952 h 271167"/>
                <a:gd name="connsiteX2" fmla="*/ 204647 w 246566"/>
                <a:gd name="connsiteY2" fmla="*/ 42606 h 271167"/>
                <a:gd name="connsiteX3" fmla="*/ 158193 w 246566"/>
                <a:gd name="connsiteY3" fmla="*/ 0 h 271167"/>
                <a:gd name="connsiteX4" fmla="*/ 123283 w 246566"/>
                <a:gd name="connsiteY4" fmla="*/ 14431 h 271167"/>
                <a:gd name="connsiteX5" fmla="*/ 88373 w 246566"/>
                <a:gd name="connsiteY5" fmla="*/ 0 h 271167"/>
                <a:gd name="connsiteX6" fmla="*/ 41919 w 246566"/>
                <a:gd name="connsiteY6" fmla="*/ 42606 h 271167"/>
                <a:gd name="connsiteX7" fmla="*/ 43018 w 246566"/>
                <a:gd name="connsiteY7" fmla="*/ 51952 h 271167"/>
                <a:gd name="connsiteX8" fmla="*/ 0 w 246566"/>
                <a:gd name="connsiteY8" fmla="*/ 104591 h 271167"/>
                <a:gd name="connsiteX9" fmla="*/ 12232 w 246566"/>
                <a:gd name="connsiteY9" fmla="*/ 137577 h 271167"/>
                <a:gd name="connsiteX10" fmla="*/ 0 w 246566"/>
                <a:gd name="connsiteY10" fmla="*/ 172761 h 271167"/>
                <a:gd name="connsiteX11" fmla="*/ 27900 w 246566"/>
                <a:gd name="connsiteY11" fmla="*/ 222377 h 271167"/>
                <a:gd name="connsiteX12" fmla="*/ 27900 w 246566"/>
                <a:gd name="connsiteY12" fmla="*/ 222377 h 271167"/>
                <a:gd name="connsiteX13" fmla="*/ 81364 w 246566"/>
                <a:gd name="connsiteY13" fmla="*/ 271168 h 271167"/>
                <a:gd name="connsiteX14" fmla="*/ 123283 w 246566"/>
                <a:gd name="connsiteY14" fmla="*/ 252613 h 271167"/>
                <a:gd name="connsiteX15" fmla="*/ 165202 w 246566"/>
                <a:gd name="connsiteY15" fmla="*/ 271168 h 271167"/>
                <a:gd name="connsiteX16" fmla="*/ 218529 w 246566"/>
                <a:gd name="connsiteY16" fmla="*/ 225400 h 271167"/>
                <a:gd name="connsiteX17" fmla="*/ 246566 w 246566"/>
                <a:gd name="connsiteY17" fmla="*/ 178946 h 271167"/>
                <a:gd name="connsiteX18" fmla="*/ 230486 w 246566"/>
                <a:gd name="connsiteY18" fmla="*/ 141700 h 271167"/>
                <a:gd name="connsiteX19" fmla="*/ 246566 w 246566"/>
                <a:gd name="connsiteY19" fmla="*/ 104591 h 271167"/>
                <a:gd name="connsiteX20" fmla="*/ 205472 w 246566"/>
                <a:gd name="connsiteY20" fmla="*/ 152008 h 271167"/>
                <a:gd name="connsiteX21" fmla="*/ 223339 w 246566"/>
                <a:gd name="connsiteY21" fmla="*/ 178946 h 271167"/>
                <a:gd name="connsiteX22" fmla="*/ 213168 w 246566"/>
                <a:gd name="connsiteY22" fmla="*/ 200799 h 271167"/>
                <a:gd name="connsiteX23" fmla="*/ 182657 w 246566"/>
                <a:gd name="connsiteY23" fmla="*/ 176197 h 271167"/>
                <a:gd name="connsiteX24" fmla="*/ 168088 w 246566"/>
                <a:gd name="connsiteY24" fmla="*/ 183756 h 271167"/>
                <a:gd name="connsiteX25" fmla="*/ 175647 w 246566"/>
                <a:gd name="connsiteY25" fmla="*/ 198325 h 271167"/>
                <a:gd name="connsiteX26" fmla="*/ 195439 w 246566"/>
                <a:gd name="connsiteY26" fmla="*/ 222377 h 271167"/>
                <a:gd name="connsiteX27" fmla="*/ 165202 w 246566"/>
                <a:gd name="connsiteY27" fmla="*/ 247941 h 271167"/>
                <a:gd name="connsiteX28" fmla="*/ 134965 w 246566"/>
                <a:gd name="connsiteY28" fmla="*/ 222377 h 271167"/>
                <a:gd name="connsiteX29" fmla="*/ 134965 w 246566"/>
                <a:gd name="connsiteY29" fmla="*/ 147885 h 271167"/>
                <a:gd name="connsiteX30" fmla="*/ 165202 w 246566"/>
                <a:gd name="connsiteY30" fmla="*/ 122321 h 271167"/>
                <a:gd name="connsiteX31" fmla="*/ 176747 w 246566"/>
                <a:gd name="connsiteY31" fmla="*/ 110776 h 271167"/>
                <a:gd name="connsiteX32" fmla="*/ 165202 w 246566"/>
                <a:gd name="connsiteY32" fmla="*/ 99231 h 271167"/>
                <a:gd name="connsiteX33" fmla="*/ 134965 w 246566"/>
                <a:gd name="connsiteY33" fmla="*/ 107890 h 271167"/>
                <a:gd name="connsiteX34" fmla="*/ 134965 w 246566"/>
                <a:gd name="connsiteY34" fmla="*/ 93046 h 271167"/>
                <a:gd name="connsiteX35" fmla="*/ 123420 w 246566"/>
                <a:gd name="connsiteY35" fmla="*/ 81502 h 271167"/>
                <a:gd name="connsiteX36" fmla="*/ 111876 w 246566"/>
                <a:gd name="connsiteY36" fmla="*/ 93046 h 271167"/>
                <a:gd name="connsiteX37" fmla="*/ 111876 w 246566"/>
                <a:gd name="connsiteY37" fmla="*/ 157505 h 271167"/>
                <a:gd name="connsiteX38" fmla="*/ 99094 w 246566"/>
                <a:gd name="connsiteY38" fmla="*/ 151596 h 271167"/>
                <a:gd name="connsiteX39" fmla="*/ 84525 w 246566"/>
                <a:gd name="connsiteY39" fmla="*/ 159155 h 271167"/>
                <a:gd name="connsiteX40" fmla="*/ 92084 w 246566"/>
                <a:gd name="connsiteY40" fmla="*/ 173723 h 271167"/>
                <a:gd name="connsiteX41" fmla="*/ 111876 w 246566"/>
                <a:gd name="connsiteY41" fmla="*/ 197775 h 271167"/>
                <a:gd name="connsiteX42" fmla="*/ 111876 w 246566"/>
                <a:gd name="connsiteY42" fmla="*/ 222652 h 271167"/>
                <a:gd name="connsiteX43" fmla="*/ 81639 w 246566"/>
                <a:gd name="connsiteY43" fmla="*/ 248215 h 271167"/>
                <a:gd name="connsiteX44" fmla="*/ 51402 w 246566"/>
                <a:gd name="connsiteY44" fmla="*/ 222652 h 271167"/>
                <a:gd name="connsiteX45" fmla="*/ 58687 w 246566"/>
                <a:gd name="connsiteY45" fmla="*/ 206022 h 271167"/>
                <a:gd name="connsiteX46" fmla="*/ 58687 w 246566"/>
                <a:gd name="connsiteY46" fmla="*/ 189666 h 271167"/>
                <a:gd name="connsiteX47" fmla="*/ 42331 w 246566"/>
                <a:gd name="connsiteY47" fmla="*/ 189666 h 271167"/>
                <a:gd name="connsiteX48" fmla="*/ 35184 w 246566"/>
                <a:gd name="connsiteY48" fmla="*/ 198600 h 271167"/>
                <a:gd name="connsiteX49" fmla="*/ 23640 w 246566"/>
                <a:gd name="connsiteY49" fmla="*/ 173036 h 271167"/>
                <a:gd name="connsiteX50" fmla="*/ 56488 w 246566"/>
                <a:gd name="connsiteY50" fmla="*/ 136340 h 271167"/>
                <a:gd name="connsiteX51" fmla="*/ 65146 w 246566"/>
                <a:gd name="connsiteY51" fmla="*/ 122458 h 271167"/>
                <a:gd name="connsiteX52" fmla="*/ 51265 w 246566"/>
                <a:gd name="connsiteY52" fmla="*/ 113800 h 271167"/>
                <a:gd name="connsiteX53" fmla="*/ 29962 w 246566"/>
                <a:gd name="connsiteY53" fmla="*/ 122458 h 271167"/>
                <a:gd name="connsiteX54" fmla="*/ 23640 w 246566"/>
                <a:gd name="connsiteY54" fmla="*/ 104866 h 271167"/>
                <a:gd name="connsiteX55" fmla="*/ 60611 w 246566"/>
                <a:gd name="connsiteY55" fmla="*/ 73118 h 271167"/>
                <a:gd name="connsiteX56" fmla="*/ 60886 w 246566"/>
                <a:gd name="connsiteY56" fmla="*/ 73118 h 271167"/>
                <a:gd name="connsiteX57" fmla="*/ 68445 w 246566"/>
                <a:gd name="connsiteY57" fmla="*/ 70369 h 271167"/>
                <a:gd name="connsiteX58" fmla="*/ 70781 w 246566"/>
                <a:gd name="connsiteY58" fmla="*/ 55388 h 271167"/>
                <a:gd name="connsiteX59" fmla="*/ 70506 w 246566"/>
                <a:gd name="connsiteY59" fmla="*/ 54976 h 271167"/>
                <a:gd name="connsiteX60" fmla="*/ 70369 w 246566"/>
                <a:gd name="connsiteY60" fmla="*/ 54838 h 271167"/>
                <a:gd name="connsiteX61" fmla="*/ 69819 w 246566"/>
                <a:gd name="connsiteY61" fmla="*/ 54151 h 271167"/>
                <a:gd name="connsiteX62" fmla="*/ 69819 w 246566"/>
                <a:gd name="connsiteY62" fmla="*/ 54151 h 271167"/>
                <a:gd name="connsiteX63" fmla="*/ 65559 w 246566"/>
                <a:gd name="connsiteY63" fmla="*/ 43019 h 271167"/>
                <a:gd name="connsiteX64" fmla="*/ 88786 w 246566"/>
                <a:gd name="connsiteY64" fmla="*/ 23640 h 271167"/>
                <a:gd name="connsiteX65" fmla="*/ 112013 w 246566"/>
                <a:gd name="connsiteY65" fmla="*/ 43019 h 271167"/>
                <a:gd name="connsiteX66" fmla="*/ 123558 w 246566"/>
                <a:gd name="connsiteY66" fmla="*/ 54563 h 271167"/>
                <a:gd name="connsiteX67" fmla="*/ 135103 w 246566"/>
                <a:gd name="connsiteY67" fmla="*/ 43019 h 271167"/>
                <a:gd name="connsiteX68" fmla="*/ 158330 w 246566"/>
                <a:gd name="connsiteY68" fmla="*/ 23640 h 271167"/>
                <a:gd name="connsiteX69" fmla="*/ 181557 w 246566"/>
                <a:gd name="connsiteY69" fmla="*/ 43019 h 271167"/>
                <a:gd name="connsiteX70" fmla="*/ 179771 w 246566"/>
                <a:gd name="connsiteY70" fmla="*/ 50303 h 271167"/>
                <a:gd name="connsiteX71" fmla="*/ 160667 w 246566"/>
                <a:gd name="connsiteY71" fmla="*/ 55113 h 271167"/>
                <a:gd name="connsiteX72" fmla="*/ 154482 w 246566"/>
                <a:gd name="connsiteY72" fmla="*/ 70369 h 271167"/>
                <a:gd name="connsiteX73" fmla="*/ 169738 w 246566"/>
                <a:gd name="connsiteY73" fmla="*/ 76554 h 271167"/>
                <a:gd name="connsiteX74" fmla="*/ 185818 w 246566"/>
                <a:gd name="connsiteY74" fmla="*/ 73255 h 271167"/>
                <a:gd name="connsiteX75" fmla="*/ 186093 w 246566"/>
                <a:gd name="connsiteY75" fmla="*/ 73255 h 271167"/>
                <a:gd name="connsiteX76" fmla="*/ 186368 w 246566"/>
                <a:gd name="connsiteY76" fmla="*/ 73255 h 271167"/>
                <a:gd name="connsiteX77" fmla="*/ 223339 w 246566"/>
                <a:gd name="connsiteY77" fmla="*/ 105004 h 271167"/>
                <a:gd name="connsiteX78" fmla="*/ 205472 w 246566"/>
                <a:gd name="connsiteY78" fmla="*/ 131942 h 271167"/>
                <a:gd name="connsiteX79" fmla="*/ 199287 w 246566"/>
                <a:gd name="connsiteY79" fmla="*/ 142250 h 271167"/>
                <a:gd name="connsiteX80" fmla="*/ 205472 w 246566"/>
                <a:gd name="connsiteY80" fmla="*/ 152008 h 271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246566" h="271167">
                  <a:moveTo>
                    <a:pt x="246566" y="104591"/>
                  </a:moveTo>
                  <a:cubicBezTo>
                    <a:pt x="246566" y="79715"/>
                    <a:pt x="228424" y="58687"/>
                    <a:pt x="203548" y="51952"/>
                  </a:cubicBezTo>
                  <a:cubicBezTo>
                    <a:pt x="204235" y="48928"/>
                    <a:pt x="204647" y="45767"/>
                    <a:pt x="204647" y="42606"/>
                  </a:cubicBezTo>
                  <a:cubicBezTo>
                    <a:pt x="204647" y="19104"/>
                    <a:pt x="183756" y="0"/>
                    <a:pt x="158193" y="0"/>
                  </a:cubicBezTo>
                  <a:cubicBezTo>
                    <a:pt x="144311" y="0"/>
                    <a:pt x="131804" y="5635"/>
                    <a:pt x="123283" y="14431"/>
                  </a:cubicBezTo>
                  <a:cubicBezTo>
                    <a:pt x="114762" y="5498"/>
                    <a:pt x="102255" y="0"/>
                    <a:pt x="88373" y="0"/>
                  </a:cubicBezTo>
                  <a:cubicBezTo>
                    <a:pt x="62672" y="0"/>
                    <a:pt x="41919" y="19104"/>
                    <a:pt x="41919" y="42606"/>
                  </a:cubicBezTo>
                  <a:cubicBezTo>
                    <a:pt x="41919" y="45767"/>
                    <a:pt x="42331" y="48928"/>
                    <a:pt x="43018" y="51952"/>
                  </a:cubicBezTo>
                  <a:cubicBezTo>
                    <a:pt x="18142" y="58824"/>
                    <a:pt x="0" y="79852"/>
                    <a:pt x="0" y="104591"/>
                  </a:cubicBezTo>
                  <a:cubicBezTo>
                    <a:pt x="0" y="116686"/>
                    <a:pt x="4261" y="128231"/>
                    <a:pt x="12232" y="137577"/>
                  </a:cubicBezTo>
                  <a:cubicBezTo>
                    <a:pt x="4535" y="147610"/>
                    <a:pt x="0" y="159842"/>
                    <a:pt x="0" y="172761"/>
                  </a:cubicBezTo>
                  <a:cubicBezTo>
                    <a:pt x="0" y="192553"/>
                    <a:pt x="10583" y="210969"/>
                    <a:pt x="27900" y="222377"/>
                  </a:cubicBezTo>
                  <a:cubicBezTo>
                    <a:pt x="27900" y="222377"/>
                    <a:pt x="27900" y="222377"/>
                    <a:pt x="27900" y="222377"/>
                  </a:cubicBezTo>
                  <a:cubicBezTo>
                    <a:pt x="27900" y="249315"/>
                    <a:pt x="51952" y="271168"/>
                    <a:pt x="81364" y="271168"/>
                  </a:cubicBezTo>
                  <a:cubicBezTo>
                    <a:pt x="98269" y="271168"/>
                    <a:pt x="113387" y="263884"/>
                    <a:pt x="123283" y="252613"/>
                  </a:cubicBezTo>
                  <a:cubicBezTo>
                    <a:pt x="133041" y="263884"/>
                    <a:pt x="148160" y="271168"/>
                    <a:pt x="165202" y="271168"/>
                  </a:cubicBezTo>
                  <a:cubicBezTo>
                    <a:pt x="193515" y="271168"/>
                    <a:pt x="216879" y="250827"/>
                    <a:pt x="218529" y="225400"/>
                  </a:cubicBezTo>
                  <a:cubicBezTo>
                    <a:pt x="235708" y="215367"/>
                    <a:pt x="246566" y="197913"/>
                    <a:pt x="246566" y="178946"/>
                  </a:cubicBezTo>
                  <a:cubicBezTo>
                    <a:pt x="246566" y="165065"/>
                    <a:pt x="240656" y="151733"/>
                    <a:pt x="230486" y="141700"/>
                  </a:cubicBezTo>
                  <a:cubicBezTo>
                    <a:pt x="240656" y="131804"/>
                    <a:pt x="246566" y="118473"/>
                    <a:pt x="246566" y="104591"/>
                  </a:cubicBezTo>
                  <a:close/>
                  <a:moveTo>
                    <a:pt x="205472" y="152008"/>
                  </a:moveTo>
                  <a:cubicBezTo>
                    <a:pt x="216604" y="157918"/>
                    <a:pt x="223339" y="167951"/>
                    <a:pt x="223339" y="178946"/>
                  </a:cubicBezTo>
                  <a:cubicBezTo>
                    <a:pt x="223339" y="187192"/>
                    <a:pt x="219491" y="194889"/>
                    <a:pt x="213168" y="200799"/>
                  </a:cubicBezTo>
                  <a:cubicBezTo>
                    <a:pt x="207121" y="189529"/>
                    <a:pt x="196263" y="180458"/>
                    <a:pt x="182657" y="176197"/>
                  </a:cubicBezTo>
                  <a:cubicBezTo>
                    <a:pt x="176610" y="174273"/>
                    <a:pt x="170012" y="177709"/>
                    <a:pt x="168088" y="183756"/>
                  </a:cubicBezTo>
                  <a:cubicBezTo>
                    <a:pt x="166164" y="189804"/>
                    <a:pt x="169600" y="196401"/>
                    <a:pt x="175647" y="198325"/>
                  </a:cubicBezTo>
                  <a:cubicBezTo>
                    <a:pt x="187467" y="202036"/>
                    <a:pt x="195439" y="211657"/>
                    <a:pt x="195439" y="222377"/>
                  </a:cubicBezTo>
                  <a:cubicBezTo>
                    <a:pt x="195439" y="236533"/>
                    <a:pt x="181832" y="247941"/>
                    <a:pt x="165202" y="247941"/>
                  </a:cubicBezTo>
                  <a:cubicBezTo>
                    <a:pt x="148572" y="247941"/>
                    <a:pt x="134965" y="236396"/>
                    <a:pt x="134965" y="222377"/>
                  </a:cubicBezTo>
                  <a:lnTo>
                    <a:pt x="134965" y="147885"/>
                  </a:lnTo>
                  <a:cubicBezTo>
                    <a:pt x="134965" y="133728"/>
                    <a:pt x="148572" y="122321"/>
                    <a:pt x="165202" y="122321"/>
                  </a:cubicBezTo>
                  <a:cubicBezTo>
                    <a:pt x="171662" y="122321"/>
                    <a:pt x="176747" y="117098"/>
                    <a:pt x="176747" y="110776"/>
                  </a:cubicBezTo>
                  <a:cubicBezTo>
                    <a:pt x="176747" y="104454"/>
                    <a:pt x="171524" y="99231"/>
                    <a:pt x="165202" y="99231"/>
                  </a:cubicBezTo>
                  <a:cubicBezTo>
                    <a:pt x="153932" y="99231"/>
                    <a:pt x="143487" y="102392"/>
                    <a:pt x="134965" y="107890"/>
                  </a:cubicBezTo>
                  <a:lnTo>
                    <a:pt x="134965" y="93046"/>
                  </a:lnTo>
                  <a:cubicBezTo>
                    <a:pt x="134965" y="86587"/>
                    <a:pt x="129743" y="81502"/>
                    <a:pt x="123420" y="81502"/>
                  </a:cubicBezTo>
                  <a:cubicBezTo>
                    <a:pt x="117098" y="81502"/>
                    <a:pt x="111876" y="86724"/>
                    <a:pt x="111876" y="93046"/>
                  </a:cubicBezTo>
                  <a:lnTo>
                    <a:pt x="111876" y="157505"/>
                  </a:lnTo>
                  <a:cubicBezTo>
                    <a:pt x="108027" y="155032"/>
                    <a:pt x="103629" y="152970"/>
                    <a:pt x="99094" y="151596"/>
                  </a:cubicBezTo>
                  <a:cubicBezTo>
                    <a:pt x="92909" y="149671"/>
                    <a:pt x="86449" y="153107"/>
                    <a:pt x="84525" y="159155"/>
                  </a:cubicBezTo>
                  <a:cubicBezTo>
                    <a:pt x="82601" y="165202"/>
                    <a:pt x="86037" y="171799"/>
                    <a:pt x="92084" y="173723"/>
                  </a:cubicBezTo>
                  <a:cubicBezTo>
                    <a:pt x="103904" y="177434"/>
                    <a:pt x="111876" y="187055"/>
                    <a:pt x="111876" y="197775"/>
                  </a:cubicBezTo>
                  <a:lnTo>
                    <a:pt x="111876" y="222652"/>
                  </a:lnTo>
                  <a:cubicBezTo>
                    <a:pt x="111876" y="236808"/>
                    <a:pt x="98269" y="248215"/>
                    <a:pt x="81639" y="248215"/>
                  </a:cubicBezTo>
                  <a:cubicBezTo>
                    <a:pt x="65009" y="248215"/>
                    <a:pt x="51402" y="236671"/>
                    <a:pt x="51402" y="222652"/>
                  </a:cubicBezTo>
                  <a:cubicBezTo>
                    <a:pt x="51402" y="216604"/>
                    <a:pt x="54014" y="210694"/>
                    <a:pt x="58687" y="206022"/>
                  </a:cubicBezTo>
                  <a:cubicBezTo>
                    <a:pt x="63222" y="201486"/>
                    <a:pt x="63222" y="194202"/>
                    <a:pt x="58687" y="189666"/>
                  </a:cubicBezTo>
                  <a:cubicBezTo>
                    <a:pt x="54151" y="185131"/>
                    <a:pt x="46867" y="185131"/>
                    <a:pt x="42331" y="189666"/>
                  </a:cubicBezTo>
                  <a:cubicBezTo>
                    <a:pt x="39583" y="192415"/>
                    <a:pt x="37109" y="195439"/>
                    <a:pt x="35184" y="198600"/>
                  </a:cubicBezTo>
                  <a:cubicBezTo>
                    <a:pt x="27900" y="191728"/>
                    <a:pt x="23640" y="182519"/>
                    <a:pt x="23640" y="173036"/>
                  </a:cubicBezTo>
                  <a:cubicBezTo>
                    <a:pt x="23640" y="155856"/>
                    <a:pt x="37109" y="140738"/>
                    <a:pt x="56488" y="136340"/>
                  </a:cubicBezTo>
                  <a:cubicBezTo>
                    <a:pt x="62672" y="134965"/>
                    <a:pt x="66658" y="128643"/>
                    <a:pt x="65146" y="122458"/>
                  </a:cubicBezTo>
                  <a:cubicBezTo>
                    <a:pt x="63772" y="116274"/>
                    <a:pt x="57450" y="112288"/>
                    <a:pt x="51265" y="113800"/>
                  </a:cubicBezTo>
                  <a:cubicBezTo>
                    <a:pt x="43431" y="115586"/>
                    <a:pt x="36284" y="118610"/>
                    <a:pt x="29962" y="122458"/>
                  </a:cubicBezTo>
                  <a:cubicBezTo>
                    <a:pt x="25839" y="117236"/>
                    <a:pt x="23640" y="111188"/>
                    <a:pt x="23640" y="104866"/>
                  </a:cubicBezTo>
                  <a:cubicBezTo>
                    <a:pt x="23640" y="87411"/>
                    <a:pt x="40132" y="73255"/>
                    <a:pt x="60611" y="73118"/>
                  </a:cubicBezTo>
                  <a:cubicBezTo>
                    <a:pt x="60748" y="73118"/>
                    <a:pt x="60886" y="73118"/>
                    <a:pt x="60886" y="73118"/>
                  </a:cubicBezTo>
                  <a:cubicBezTo>
                    <a:pt x="63497" y="73118"/>
                    <a:pt x="66246" y="72156"/>
                    <a:pt x="68445" y="70369"/>
                  </a:cubicBezTo>
                  <a:cubicBezTo>
                    <a:pt x="72843" y="66658"/>
                    <a:pt x="73805" y="60198"/>
                    <a:pt x="70781" y="55388"/>
                  </a:cubicBezTo>
                  <a:cubicBezTo>
                    <a:pt x="70644" y="55251"/>
                    <a:pt x="70644" y="55113"/>
                    <a:pt x="70506" y="54976"/>
                  </a:cubicBezTo>
                  <a:cubicBezTo>
                    <a:pt x="70506" y="54838"/>
                    <a:pt x="70369" y="54838"/>
                    <a:pt x="70369" y="54838"/>
                  </a:cubicBezTo>
                  <a:cubicBezTo>
                    <a:pt x="70231" y="54563"/>
                    <a:pt x="69957" y="54289"/>
                    <a:pt x="69819" y="54151"/>
                  </a:cubicBezTo>
                  <a:cubicBezTo>
                    <a:pt x="69819" y="54151"/>
                    <a:pt x="69819" y="54151"/>
                    <a:pt x="69819" y="54151"/>
                  </a:cubicBezTo>
                  <a:cubicBezTo>
                    <a:pt x="67895" y="51815"/>
                    <a:pt x="65559" y="48104"/>
                    <a:pt x="65559" y="43019"/>
                  </a:cubicBezTo>
                  <a:cubicBezTo>
                    <a:pt x="65559" y="32298"/>
                    <a:pt x="76004" y="23640"/>
                    <a:pt x="88786" y="23640"/>
                  </a:cubicBezTo>
                  <a:cubicBezTo>
                    <a:pt x="101568" y="23640"/>
                    <a:pt x="112013" y="32298"/>
                    <a:pt x="112013" y="43019"/>
                  </a:cubicBezTo>
                  <a:cubicBezTo>
                    <a:pt x="112013" y="49478"/>
                    <a:pt x="117236" y="54563"/>
                    <a:pt x="123558" y="54563"/>
                  </a:cubicBezTo>
                  <a:cubicBezTo>
                    <a:pt x="129880" y="54563"/>
                    <a:pt x="135103" y="49341"/>
                    <a:pt x="135103" y="43019"/>
                  </a:cubicBezTo>
                  <a:cubicBezTo>
                    <a:pt x="135103" y="32298"/>
                    <a:pt x="145548" y="23640"/>
                    <a:pt x="158330" y="23640"/>
                  </a:cubicBezTo>
                  <a:cubicBezTo>
                    <a:pt x="171112" y="23640"/>
                    <a:pt x="181557" y="32298"/>
                    <a:pt x="181557" y="43019"/>
                  </a:cubicBezTo>
                  <a:cubicBezTo>
                    <a:pt x="181557" y="45905"/>
                    <a:pt x="180870" y="48379"/>
                    <a:pt x="179771" y="50303"/>
                  </a:cubicBezTo>
                  <a:cubicBezTo>
                    <a:pt x="173174" y="50990"/>
                    <a:pt x="166851" y="52502"/>
                    <a:pt x="160667" y="55113"/>
                  </a:cubicBezTo>
                  <a:cubicBezTo>
                    <a:pt x="154757" y="57587"/>
                    <a:pt x="152008" y="64459"/>
                    <a:pt x="154482" y="70369"/>
                  </a:cubicBezTo>
                  <a:cubicBezTo>
                    <a:pt x="156956" y="76279"/>
                    <a:pt x="163828" y="79028"/>
                    <a:pt x="169738" y="76554"/>
                  </a:cubicBezTo>
                  <a:cubicBezTo>
                    <a:pt x="174823" y="74492"/>
                    <a:pt x="180183" y="73393"/>
                    <a:pt x="185818" y="73255"/>
                  </a:cubicBezTo>
                  <a:cubicBezTo>
                    <a:pt x="185955" y="73255"/>
                    <a:pt x="186093" y="73255"/>
                    <a:pt x="186093" y="73255"/>
                  </a:cubicBezTo>
                  <a:cubicBezTo>
                    <a:pt x="186230" y="73255"/>
                    <a:pt x="186230" y="73255"/>
                    <a:pt x="186368" y="73255"/>
                  </a:cubicBezTo>
                  <a:cubicBezTo>
                    <a:pt x="206709" y="73393"/>
                    <a:pt x="223339" y="87549"/>
                    <a:pt x="223339" y="105004"/>
                  </a:cubicBezTo>
                  <a:cubicBezTo>
                    <a:pt x="223339" y="115999"/>
                    <a:pt x="216604" y="126032"/>
                    <a:pt x="205472" y="131942"/>
                  </a:cubicBezTo>
                  <a:cubicBezTo>
                    <a:pt x="201623" y="134003"/>
                    <a:pt x="199287" y="137852"/>
                    <a:pt x="199287" y="142250"/>
                  </a:cubicBezTo>
                  <a:cubicBezTo>
                    <a:pt x="199287" y="146098"/>
                    <a:pt x="201761" y="150084"/>
                    <a:pt x="205472" y="152008"/>
                  </a:cubicBez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rgbClr val="FFFFFF"/>
                </a:solidFill>
                <a:latin typeface="Amazon Ember"/>
              </a:endParaRPr>
            </a:p>
          </p:txBody>
        </p:sp>
      </p:grpSp>
      <p:cxnSp>
        <p:nvCxnSpPr>
          <p:cNvPr id="188" name="Straight Arrow Connector 126">
            <a:extLst>
              <a:ext uri="{FF2B5EF4-FFF2-40B4-BE49-F238E27FC236}">
                <a16:creationId xmlns:a16="http://schemas.microsoft.com/office/drawing/2014/main" id="{448C2C8E-9855-A1E8-FB8D-1C36AC6EF109}"/>
              </a:ext>
            </a:extLst>
          </p:cNvPr>
          <p:cNvCxnSpPr>
            <a:cxnSpLocks/>
            <a:stCxn id="5" idx="0"/>
          </p:cNvCxnSpPr>
          <p:nvPr/>
        </p:nvCxnSpPr>
        <p:spPr>
          <a:xfrm rot="5400000" flipH="1" flipV="1">
            <a:off x="5430453" y="906822"/>
            <a:ext cx="542546" cy="2122570"/>
          </a:xfrm>
          <a:prstGeom prst="curvedConnector2">
            <a:avLst/>
          </a:prstGeom>
          <a:ln>
            <a:solidFill>
              <a:srgbClr val="B8CBD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object 3">
            <a:extLst>
              <a:ext uri="{FF2B5EF4-FFF2-40B4-BE49-F238E27FC236}">
                <a16:creationId xmlns:a16="http://schemas.microsoft.com/office/drawing/2014/main" id="{D28B48D3-07C4-FDB1-C7F0-E1E7094FE800}"/>
              </a:ext>
            </a:extLst>
          </p:cNvPr>
          <p:cNvSpPr txBox="1"/>
          <p:nvPr/>
        </p:nvSpPr>
        <p:spPr>
          <a:xfrm>
            <a:off x="7299754" y="1642881"/>
            <a:ext cx="1195994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lang="en-US" sz="1000" spc="50" dirty="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rPr>
              <a:t>LLMs</a:t>
            </a:r>
            <a:endParaRPr sz="1000" spc="50" dirty="0">
              <a:solidFill>
                <a:schemeClr val="tx2">
                  <a:lumMod val="75000"/>
                  <a:lumOff val="25000"/>
                </a:schemeClr>
              </a:solidFill>
              <a:latin typeface="Aptos SemiBold" panose="020B000402020202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68826259-BB31-D258-459C-3E56667C8E25}"/>
              </a:ext>
            </a:extLst>
          </p:cNvPr>
          <p:cNvSpPr txBox="1"/>
          <p:nvPr/>
        </p:nvSpPr>
        <p:spPr>
          <a:xfrm>
            <a:off x="5384071" y="1602620"/>
            <a:ext cx="864000" cy="3030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2700" marR="5080" algn="ctr">
              <a:lnSpc>
                <a:spcPct val="100600"/>
              </a:lnSpc>
            </a:pPr>
            <a:r>
              <a:rPr lang="en-US" sz="7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all to LLMs </a:t>
            </a:r>
          </a:p>
          <a:p>
            <a:pPr marL="12700" marR="5080" algn="ctr">
              <a:lnSpc>
                <a:spcPct val="100600"/>
              </a:lnSpc>
            </a:pPr>
            <a:r>
              <a:rPr lang="en-US" sz="7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y Agents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DFCD6642-0365-A6C0-B81A-F03896568DA5}"/>
              </a:ext>
            </a:extLst>
          </p:cNvPr>
          <p:cNvSpPr txBox="1"/>
          <p:nvPr/>
        </p:nvSpPr>
        <p:spPr>
          <a:xfrm>
            <a:off x="4512002" y="3750683"/>
            <a:ext cx="1512000" cy="184666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square">
            <a:spAutoFit/>
          </a:bodyPr>
          <a:lstStyle/>
          <a:p>
            <a:r>
              <a:rPr lang="en-IN" sz="600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E.g., [Generate Unit Test Cases]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7C64AA3-B649-3651-1841-3141D2B820D9}"/>
              </a:ext>
            </a:extLst>
          </p:cNvPr>
          <p:cNvSpPr txBox="1"/>
          <p:nvPr/>
        </p:nvSpPr>
        <p:spPr>
          <a:xfrm>
            <a:off x="5031594" y="2642936"/>
            <a:ext cx="1512000" cy="19428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2700" marR="5080" algn="ctr">
              <a:lnSpc>
                <a:spcPct val="100600"/>
              </a:lnSpc>
            </a:pPr>
            <a:r>
              <a:rPr lang="en-US" sz="7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or Quality checks</a:t>
            </a:r>
          </a:p>
        </p:txBody>
      </p:sp>
      <p:cxnSp>
        <p:nvCxnSpPr>
          <p:cNvPr id="16" name="Straight Arrow Connector 12">
            <a:extLst>
              <a:ext uri="{FF2B5EF4-FFF2-40B4-BE49-F238E27FC236}">
                <a16:creationId xmlns:a16="http://schemas.microsoft.com/office/drawing/2014/main" id="{A3F2BA98-48C0-AD50-0E04-F63013049C6F}"/>
              </a:ext>
            </a:extLst>
          </p:cNvPr>
          <p:cNvCxnSpPr>
            <a:cxnSpLocks/>
            <a:stCxn id="157" idx="1"/>
            <a:endCxn id="50" idx="6"/>
          </p:cNvCxnSpPr>
          <p:nvPr/>
        </p:nvCxnSpPr>
        <p:spPr>
          <a:xfrm rot="10800000" flipV="1">
            <a:off x="9249130" y="2154741"/>
            <a:ext cx="933333" cy="923501"/>
          </a:xfrm>
          <a:prstGeom prst="curvedConnector3">
            <a:avLst>
              <a:gd name="adj1" fmla="val 50000"/>
            </a:avLst>
          </a:prstGeom>
          <a:ln w="6350" cap="flat" cmpd="sng" algn="ctr">
            <a:solidFill>
              <a:srgbClr val="B8CBDA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" name="Straight Arrow Connector 12">
            <a:extLst>
              <a:ext uri="{FF2B5EF4-FFF2-40B4-BE49-F238E27FC236}">
                <a16:creationId xmlns:a16="http://schemas.microsoft.com/office/drawing/2014/main" id="{0D2265CE-0422-0506-77EB-2DE7AB771DA3}"/>
              </a:ext>
            </a:extLst>
          </p:cNvPr>
          <p:cNvCxnSpPr>
            <a:cxnSpLocks/>
            <a:stCxn id="158" idx="1"/>
            <a:endCxn id="50" idx="6"/>
          </p:cNvCxnSpPr>
          <p:nvPr/>
        </p:nvCxnSpPr>
        <p:spPr>
          <a:xfrm rot="10800000">
            <a:off x="9249130" y="3078244"/>
            <a:ext cx="923861" cy="562931"/>
          </a:xfrm>
          <a:prstGeom prst="curvedConnector3">
            <a:avLst>
              <a:gd name="adj1" fmla="val 50000"/>
            </a:avLst>
          </a:prstGeom>
          <a:ln w="6350" cap="flat" cmpd="sng" algn="ctr">
            <a:solidFill>
              <a:srgbClr val="B8CBDA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70692BD1-A3BD-C24B-4D18-1FA2C293F6CD}"/>
              </a:ext>
            </a:extLst>
          </p:cNvPr>
          <p:cNvSpPr txBox="1"/>
          <p:nvPr/>
        </p:nvSpPr>
        <p:spPr>
          <a:xfrm>
            <a:off x="3304411" y="1740372"/>
            <a:ext cx="1813390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>
            <a:defPPr>
              <a:defRPr lang="en-US"/>
            </a:defPPr>
            <a:lvl1pPr marL="12700">
              <a:spcBef>
                <a:spcPts val="120"/>
              </a:spcBef>
              <a:defRPr sz="1000" spc="5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defRPr>
            </a:lvl1pPr>
          </a:lstStyle>
          <a:p>
            <a:pPr algn="ctr"/>
            <a:r>
              <a:rPr lang="en-US" dirty="0"/>
              <a:t>Agentic System</a:t>
            </a:r>
          </a:p>
        </p:txBody>
      </p:sp>
      <p:pic>
        <p:nvPicPr>
          <p:cNvPr id="17" name="Graphic 16" descr="Caret Up outline">
            <a:extLst>
              <a:ext uri="{FF2B5EF4-FFF2-40B4-BE49-F238E27FC236}">
                <a16:creationId xmlns:a16="http://schemas.microsoft.com/office/drawing/2014/main" id="{ECC18BC9-3234-CB63-D99C-46C07E9C2DD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5400000">
            <a:off x="2187421" y="4908312"/>
            <a:ext cx="180000" cy="180000"/>
          </a:xfrm>
          <a:prstGeom prst="rect">
            <a:avLst/>
          </a:prstGeom>
        </p:spPr>
      </p:pic>
      <p:pic>
        <p:nvPicPr>
          <p:cNvPr id="18" name="Graphic 17" descr="Caret Up outline">
            <a:extLst>
              <a:ext uri="{FF2B5EF4-FFF2-40B4-BE49-F238E27FC236}">
                <a16:creationId xmlns:a16="http://schemas.microsoft.com/office/drawing/2014/main" id="{17A3FE4B-7065-872C-47B3-2F2A893668B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5400000">
            <a:off x="3849215" y="4905774"/>
            <a:ext cx="180000" cy="180000"/>
          </a:xfrm>
          <a:prstGeom prst="rect">
            <a:avLst/>
          </a:prstGeom>
        </p:spPr>
      </p:pic>
      <p:pic>
        <p:nvPicPr>
          <p:cNvPr id="20" name="Graphic 19" descr="Caret Up outline">
            <a:extLst>
              <a:ext uri="{FF2B5EF4-FFF2-40B4-BE49-F238E27FC236}">
                <a16:creationId xmlns:a16="http://schemas.microsoft.com/office/drawing/2014/main" id="{A62E18BA-3090-86BC-2C99-A781D9C415B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5400000">
            <a:off x="5554016" y="4905244"/>
            <a:ext cx="180000" cy="180000"/>
          </a:xfrm>
          <a:prstGeom prst="rect">
            <a:avLst/>
          </a:prstGeom>
        </p:spPr>
      </p:pic>
      <p:pic>
        <p:nvPicPr>
          <p:cNvPr id="22" name="Graphic 21" descr="Caret Up outline">
            <a:extLst>
              <a:ext uri="{FF2B5EF4-FFF2-40B4-BE49-F238E27FC236}">
                <a16:creationId xmlns:a16="http://schemas.microsoft.com/office/drawing/2014/main" id="{05BCAEC0-B455-05F6-C609-134DBC7A500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5400000">
            <a:off x="7235694" y="4903017"/>
            <a:ext cx="180000" cy="180000"/>
          </a:xfrm>
          <a:prstGeom prst="rect">
            <a:avLst/>
          </a:prstGeom>
        </p:spPr>
      </p:pic>
      <p:pic>
        <p:nvPicPr>
          <p:cNvPr id="23" name="Graphic 22" descr="Caret Up outline">
            <a:extLst>
              <a:ext uri="{FF2B5EF4-FFF2-40B4-BE49-F238E27FC236}">
                <a16:creationId xmlns:a16="http://schemas.microsoft.com/office/drawing/2014/main" id="{92782EAA-F32C-28FF-32CE-883B5C9E855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5400000">
            <a:off x="8924601" y="4908021"/>
            <a:ext cx="180000" cy="180000"/>
          </a:xfrm>
          <a:prstGeom prst="rect">
            <a:avLst/>
          </a:prstGeom>
        </p:spPr>
      </p:pic>
      <p:pic>
        <p:nvPicPr>
          <p:cNvPr id="25" name="Graphic 24" descr="Caret Up outline">
            <a:extLst>
              <a:ext uri="{FF2B5EF4-FFF2-40B4-BE49-F238E27FC236}">
                <a16:creationId xmlns:a16="http://schemas.microsoft.com/office/drawing/2014/main" id="{549E69E4-ADE2-14D0-1407-4B96B5024D9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5400000">
            <a:off x="10589423" y="4905774"/>
            <a:ext cx="180000" cy="180000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C4187B12-9526-9876-384D-E93E950F84AA}"/>
              </a:ext>
            </a:extLst>
          </p:cNvPr>
          <p:cNvGrpSpPr/>
          <p:nvPr/>
        </p:nvGrpSpPr>
        <p:grpSpPr>
          <a:xfrm>
            <a:off x="858202" y="2013821"/>
            <a:ext cx="364871" cy="450924"/>
            <a:chOff x="6775540" y="5624492"/>
            <a:chExt cx="364871" cy="450924"/>
          </a:xfrm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5500E96-99CA-573A-D8A6-3B6BEDEC4D66}"/>
                </a:ext>
              </a:extLst>
            </p:cNvPr>
            <p:cNvSpPr/>
            <p:nvPr/>
          </p:nvSpPr>
          <p:spPr>
            <a:xfrm>
              <a:off x="6775540" y="5624492"/>
              <a:ext cx="364871" cy="450924"/>
            </a:xfrm>
            <a:custGeom>
              <a:avLst/>
              <a:gdLst>
                <a:gd name="connsiteX0" fmla="*/ 145846 w 289507"/>
                <a:gd name="connsiteY0" fmla="*/ 4097 h 357787"/>
                <a:gd name="connsiteX1" fmla="*/ 4097 w 289507"/>
                <a:gd name="connsiteY1" fmla="*/ 55717 h 357787"/>
                <a:gd name="connsiteX2" fmla="*/ 4097 w 289507"/>
                <a:gd name="connsiteY2" fmla="*/ 161687 h 357787"/>
                <a:gd name="connsiteX3" fmla="*/ 4097 w 289507"/>
                <a:gd name="connsiteY3" fmla="*/ 257826 h 357787"/>
                <a:gd name="connsiteX4" fmla="*/ 4097 w 289507"/>
                <a:gd name="connsiteY4" fmla="*/ 304529 h 357787"/>
                <a:gd name="connsiteX5" fmla="*/ 81390 w 289507"/>
                <a:gd name="connsiteY5" fmla="*/ 350960 h 357787"/>
                <a:gd name="connsiteX6" fmla="*/ 115803 w 289507"/>
                <a:gd name="connsiteY6" fmla="*/ 355057 h 357787"/>
                <a:gd name="connsiteX7" fmla="*/ 130552 w 289507"/>
                <a:gd name="connsiteY7" fmla="*/ 355876 h 357787"/>
                <a:gd name="connsiteX8" fmla="*/ 145846 w 289507"/>
                <a:gd name="connsiteY8" fmla="*/ 356149 h 357787"/>
                <a:gd name="connsiteX9" fmla="*/ 145846 w 289507"/>
                <a:gd name="connsiteY9" fmla="*/ 356149 h 357787"/>
                <a:gd name="connsiteX10" fmla="*/ 145846 w 289507"/>
                <a:gd name="connsiteY10" fmla="*/ 356149 h 357787"/>
                <a:gd name="connsiteX11" fmla="*/ 161141 w 289507"/>
                <a:gd name="connsiteY11" fmla="*/ 355876 h 357787"/>
                <a:gd name="connsiteX12" fmla="*/ 175890 w 289507"/>
                <a:gd name="connsiteY12" fmla="*/ 355057 h 357787"/>
                <a:gd name="connsiteX13" fmla="*/ 210303 w 289507"/>
                <a:gd name="connsiteY13" fmla="*/ 350960 h 357787"/>
                <a:gd name="connsiteX14" fmla="*/ 287596 w 289507"/>
                <a:gd name="connsiteY14" fmla="*/ 304529 h 357787"/>
                <a:gd name="connsiteX15" fmla="*/ 287596 w 289507"/>
                <a:gd name="connsiteY15" fmla="*/ 256460 h 357787"/>
                <a:gd name="connsiteX16" fmla="*/ 287596 w 289507"/>
                <a:gd name="connsiteY16" fmla="*/ 160322 h 357787"/>
                <a:gd name="connsiteX17" fmla="*/ 287596 w 289507"/>
                <a:gd name="connsiteY17" fmla="*/ 135468 h 357787"/>
                <a:gd name="connsiteX18" fmla="*/ 287596 w 289507"/>
                <a:gd name="connsiteY18" fmla="*/ 55717 h 357787"/>
                <a:gd name="connsiteX19" fmla="*/ 145846 w 289507"/>
                <a:gd name="connsiteY19" fmla="*/ 4097 h 357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507" h="357787">
                  <a:moveTo>
                    <a:pt x="145846" y="4097"/>
                  </a:moveTo>
                  <a:cubicBezTo>
                    <a:pt x="63910" y="4097"/>
                    <a:pt x="4097" y="27312"/>
                    <a:pt x="4097" y="55717"/>
                  </a:cubicBezTo>
                  <a:lnTo>
                    <a:pt x="4097" y="161687"/>
                  </a:lnTo>
                  <a:lnTo>
                    <a:pt x="4097" y="257826"/>
                  </a:lnTo>
                  <a:lnTo>
                    <a:pt x="4097" y="304529"/>
                  </a:lnTo>
                  <a:cubicBezTo>
                    <a:pt x="4097" y="325013"/>
                    <a:pt x="31682" y="342766"/>
                    <a:pt x="81390" y="350960"/>
                  </a:cubicBezTo>
                  <a:cubicBezTo>
                    <a:pt x="92315" y="352872"/>
                    <a:pt x="103786" y="354237"/>
                    <a:pt x="115803" y="355057"/>
                  </a:cubicBezTo>
                  <a:cubicBezTo>
                    <a:pt x="120719" y="355330"/>
                    <a:pt x="125635" y="355603"/>
                    <a:pt x="130552" y="355876"/>
                  </a:cubicBezTo>
                  <a:cubicBezTo>
                    <a:pt x="135468" y="356149"/>
                    <a:pt x="140657" y="356149"/>
                    <a:pt x="145846" y="356149"/>
                  </a:cubicBezTo>
                  <a:lnTo>
                    <a:pt x="145846" y="356149"/>
                  </a:lnTo>
                  <a:lnTo>
                    <a:pt x="145846" y="356149"/>
                  </a:lnTo>
                  <a:cubicBezTo>
                    <a:pt x="151036" y="356149"/>
                    <a:pt x="155952" y="356149"/>
                    <a:pt x="161141" y="355876"/>
                  </a:cubicBezTo>
                  <a:cubicBezTo>
                    <a:pt x="166057" y="355603"/>
                    <a:pt x="170973" y="355330"/>
                    <a:pt x="175890" y="355057"/>
                  </a:cubicBezTo>
                  <a:cubicBezTo>
                    <a:pt x="187907" y="354237"/>
                    <a:pt x="199378" y="352872"/>
                    <a:pt x="210303" y="350960"/>
                  </a:cubicBezTo>
                  <a:cubicBezTo>
                    <a:pt x="260011" y="342493"/>
                    <a:pt x="287596" y="325013"/>
                    <a:pt x="287596" y="304529"/>
                  </a:cubicBezTo>
                  <a:lnTo>
                    <a:pt x="287596" y="256460"/>
                  </a:lnTo>
                  <a:lnTo>
                    <a:pt x="287596" y="160322"/>
                  </a:lnTo>
                  <a:lnTo>
                    <a:pt x="287596" y="135468"/>
                  </a:lnTo>
                  <a:lnTo>
                    <a:pt x="287596" y="55717"/>
                  </a:lnTo>
                  <a:cubicBezTo>
                    <a:pt x="287596" y="27312"/>
                    <a:pt x="227783" y="4097"/>
                    <a:pt x="145846" y="4097"/>
                  </a:cubicBezTo>
                  <a:close/>
                </a:path>
              </a:pathLst>
            </a:custGeom>
            <a:noFill/>
            <a:ln w="6350"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80AB0FD-1D1A-3189-53DB-9FDFB9802CCE}"/>
                </a:ext>
              </a:extLst>
            </p:cNvPr>
            <p:cNvSpPr/>
            <p:nvPr/>
          </p:nvSpPr>
          <p:spPr>
            <a:xfrm>
              <a:off x="6775540" y="5624492"/>
              <a:ext cx="364871" cy="127361"/>
            </a:xfrm>
            <a:custGeom>
              <a:avLst/>
              <a:gdLst>
                <a:gd name="connsiteX0" fmla="*/ 287596 w 289507"/>
                <a:gd name="connsiteY0" fmla="*/ 53805 h 101054"/>
                <a:gd name="connsiteX1" fmla="*/ 145846 w 289507"/>
                <a:gd name="connsiteY1" fmla="*/ 98050 h 101054"/>
                <a:gd name="connsiteX2" fmla="*/ 4097 w 289507"/>
                <a:gd name="connsiteY2" fmla="*/ 53805 h 101054"/>
                <a:gd name="connsiteX3" fmla="*/ 145846 w 289507"/>
                <a:gd name="connsiteY3" fmla="*/ 4097 h 101054"/>
                <a:gd name="connsiteX4" fmla="*/ 287596 w 289507"/>
                <a:gd name="connsiteY4" fmla="*/ 53805 h 101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507" h="101054">
                  <a:moveTo>
                    <a:pt x="287596" y="53805"/>
                  </a:moveTo>
                  <a:cubicBezTo>
                    <a:pt x="287596" y="78112"/>
                    <a:pt x="228056" y="98050"/>
                    <a:pt x="145846" y="98050"/>
                  </a:cubicBezTo>
                  <a:cubicBezTo>
                    <a:pt x="63637" y="98050"/>
                    <a:pt x="4097" y="78386"/>
                    <a:pt x="4097" y="53805"/>
                  </a:cubicBezTo>
                  <a:cubicBezTo>
                    <a:pt x="4097" y="29224"/>
                    <a:pt x="63910" y="4097"/>
                    <a:pt x="145846" y="4097"/>
                  </a:cubicBezTo>
                  <a:cubicBezTo>
                    <a:pt x="227783" y="4097"/>
                    <a:pt x="287596" y="29224"/>
                    <a:pt x="287596" y="53805"/>
                  </a:cubicBezTo>
                  <a:close/>
                </a:path>
              </a:pathLst>
            </a:custGeom>
            <a:noFill/>
            <a:ln w="6350"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EF234F2-3A4C-513A-6843-E173F120B790}"/>
                </a:ext>
              </a:extLst>
            </p:cNvPr>
            <p:cNvSpPr/>
            <p:nvPr/>
          </p:nvSpPr>
          <p:spPr>
            <a:xfrm>
              <a:off x="6775540" y="5797633"/>
              <a:ext cx="364871" cy="65401"/>
            </a:xfrm>
            <a:custGeom>
              <a:avLst/>
              <a:gdLst>
                <a:gd name="connsiteX0" fmla="*/ 287596 w 289507"/>
                <a:gd name="connsiteY0" fmla="*/ 4097 h 51892"/>
                <a:gd name="connsiteX1" fmla="*/ 145846 w 289507"/>
                <a:gd name="connsiteY1" fmla="*/ 48342 h 51892"/>
                <a:gd name="connsiteX2" fmla="*/ 4097 w 289507"/>
                <a:gd name="connsiteY2" fmla="*/ 4097 h 51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9507" h="51892">
                  <a:moveTo>
                    <a:pt x="287596" y="4097"/>
                  </a:moveTo>
                  <a:cubicBezTo>
                    <a:pt x="287596" y="28405"/>
                    <a:pt x="228056" y="48342"/>
                    <a:pt x="145846" y="48342"/>
                  </a:cubicBezTo>
                  <a:cubicBezTo>
                    <a:pt x="63637" y="48342"/>
                    <a:pt x="4097" y="28678"/>
                    <a:pt x="4097" y="4097"/>
                  </a:cubicBezTo>
                </a:path>
              </a:pathLst>
            </a:custGeom>
            <a:noFill/>
            <a:ln w="6350">
              <a:solidFill>
                <a:srgbClr val="32ADFF"/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28A4C5D-F603-E1A6-3391-A3DF2E05F6E2}"/>
                </a:ext>
              </a:extLst>
            </p:cNvPr>
            <p:cNvSpPr/>
            <p:nvPr/>
          </p:nvSpPr>
          <p:spPr>
            <a:xfrm>
              <a:off x="6775540" y="5907094"/>
              <a:ext cx="364871" cy="65401"/>
            </a:xfrm>
            <a:custGeom>
              <a:avLst/>
              <a:gdLst>
                <a:gd name="connsiteX0" fmla="*/ 287596 w 289507"/>
                <a:gd name="connsiteY0" fmla="*/ 4097 h 51892"/>
                <a:gd name="connsiteX1" fmla="*/ 145846 w 289507"/>
                <a:gd name="connsiteY1" fmla="*/ 48342 h 51892"/>
                <a:gd name="connsiteX2" fmla="*/ 4097 w 289507"/>
                <a:gd name="connsiteY2" fmla="*/ 4097 h 51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9507" h="51892">
                  <a:moveTo>
                    <a:pt x="287596" y="4097"/>
                  </a:moveTo>
                  <a:cubicBezTo>
                    <a:pt x="287596" y="28405"/>
                    <a:pt x="228056" y="48342"/>
                    <a:pt x="145846" y="48342"/>
                  </a:cubicBezTo>
                  <a:cubicBezTo>
                    <a:pt x="63637" y="48342"/>
                    <a:pt x="4097" y="28678"/>
                    <a:pt x="4097" y="4097"/>
                  </a:cubicBezTo>
                </a:path>
              </a:pathLst>
            </a:custGeom>
            <a:noFill/>
            <a:ln w="6350">
              <a:solidFill>
                <a:srgbClr val="32ADFF"/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C3B1141B-2801-3DFF-F945-33417B8AAF71}"/>
                </a:ext>
              </a:extLst>
            </p:cNvPr>
            <p:cNvSpPr/>
            <p:nvPr/>
          </p:nvSpPr>
          <p:spPr>
            <a:xfrm>
              <a:off x="6775540" y="5624492"/>
              <a:ext cx="364871" cy="450924"/>
            </a:xfrm>
            <a:custGeom>
              <a:avLst/>
              <a:gdLst>
                <a:gd name="connsiteX0" fmla="*/ 145846 w 289507"/>
                <a:gd name="connsiteY0" fmla="*/ 4097 h 357787"/>
                <a:gd name="connsiteX1" fmla="*/ 4097 w 289507"/>
                <a:gd name="connsiteY1" fmla="*/ 55717 h 357787"/>
                <a:gd name="connsiteX2" fmla="*/ 4097 w 289507"/>
                <a:gd name="connsiteY2" fmla="*/ 161687 h 357787"/>
                <a:gd name="connsiteX3" fmla="*/ 4097 w 289507"/>
                <a:gd name="connsiteY3" fmla="*/ 257826 h 357787"/>
                <a:gd name="connsiteX4" fmla="*/ 4097 w 289507"/>
                <a:gd name="connsiteY4" fmla="*/ 304529 h 357787"/>
                <a:gd name="connsiteX5" fmla="*/ 81390 w 289507"/>
                <a:gd name="connsiteY5" fmla="*/ 350960 h 357787"/>
                <a:gd name="connsiteX6" fmla="*/ 115803 w 289507"/>
                <a:gd name="connsiteY6" fmla="*/ 355057 h 357787"/>
                <a:gd name="connsiteX7" fmla="*/ 130552 w 289507"/>
                <a:gd name="connsiteY7" fmla="*/ 355876 h 357787"/>
                <a:gd name="connsiteX8" fmla="*/ 145846 w 289507"/>
                <a:gd name="connsiteY8" fmla="*/ 356149 h 357787"/>
                <a:gd name="connsiteX9" fmla="*/ 145846 w 289507"/>
                <a:gd name="connsiteY9" fmla="*/ 356149 h 357787"/>
                <a:gd name="connsiteX10" fmla="*/ 145846 w 289507"/>
                <a:gd name="connsiteY10" fmla="*/ 356149 h 357787"/>
                <a:gd name="connsiteX11" fmla="*/ 161141 w 289507"/>
                <a:gd name="connsiteY11" fmla="*/ 355876 h 357787"/>
                <a:gd name="connsiteX12" fmla="*/ 175890 w 289507"/>
                <a:gd name="connsiteY12" fmla="*/ 355057 h 357787"/>
                <a:gd name="connsiteX13" fmla="*/ 210303 w 289507"/>
                <a:gd name="connsiteY13" fmla="*/ 350960 h 357787"/>
                <a:gd name="connsiteX14" fmla="*/ 287596 w 289507"/>
                <a:gd name="connsiteY14" fmla="*/ 304529 h 357787"/>
                <a:gd name="connsiteX15" fmla="*/ 287596 w 289507"/>
                <a:gd name="connsiteY15" fmla="*/ 256460 h 357787"/>
                <a:gd name="connsiteX16" fmla="*/ 287596 w 289507"/>
                <a:gd name="connsiteY16" fmla="*/ 160322 h 357787"/>
                <a:gd name="connsiteX17" fmla="*/ 287596 w 289507"/>
                <a:gd name="connsiteY17" fmla="*/ 135468 h 357787"/>
                <a:gd name="connsiteX18" fmla="*/ 287596 w 289507"/>
                <a:gd name="connsiteY18" fmla="*/ 55717 h 357787"/>
                <a:gd name="connsiteX19" fmla="*/ 145846 w 289507"/>
                <a:gd name="connsiteY19" fmla="*/ 4097 h 357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507" h="357787">
                  <a:moveTo>
                    <a:pt x="145846" y="4097"/>
                  </a:moveTo>
                  <a:cubicBezTo>
                    <a:pt x="63910" y="4097"/>
                    <a:pt x="4097" y="27312"/>
                    <a:pt x="4097" y="55717"/>
                  </a:cubicBezTo>
                  <a:lnTo>
                    <a:pt x="4097" y="161687"/>
                  </a:lnTo>
                  <a:lnTo>
                    <a:pt x="4097" y="257826"/>
                  </a:lnTo>
                  <a:lnTo>
                    <a:pt x="4097" y="304529"/>
                  </a:lnTo>
                  <a:cubicBezTo>
                    <a:pt x="4097" y="325013"/>
                    <a:pt x="31682" y="342766"/>
                    <a:pt x="81390" y="350960"/>
                  </a:cubicBezTo>
                  <a:cubicBezTo>
                    <a:pt x="92315" y="352872"/>
                    <a:pt x="103786" y="354237"/>
                    <a:pt x="115803" y="355057"/>
                  </a:cubicBezTo>
                  <a:cubicBezTo>
                    <a:pt x="120719" y="355330"/>
                    <a:pt x="125635" y="355603"/>
                    <a:pt x="130552" y="355876"/>
                  </a:cubicBezTo>
                  <a:cubicBezTo>
                    <a:pt x="135468" y="356149"/>
                    <a:pt x="140657" y="356149"/>
                    <a:pt x="145846" y="356149"/>
                  </a:cubicBezTo>
                  <a:lnTo>
                    <a:pt x="145846" y="356149"/>
                  </a:lnTo>
                  <a:lnTo>
                    <a:pt x="145846" y="356149"/>
                  </a:lnTo>
                  <a:cubicBezTo>
                    <a:pt x="151036" y="356149"/>
                    <a:pt x="155952" y="356149"/>
                    <a:pt x="161141" y="355876"/>
                  </a:cubicBezTo>
                  <a:cubicBezTo>
                    <a:pt x="166057" y="355603"/>
                    <a:pt x="170973" y="355330"/>
                    <a:pt x="175890" y="355057"/>
                  </a:cubicBezTo>
                  <a:cubicBezTo>
                    <a:pt x="187907" y="354237"/>
                    <a:pt x="199378" y="352872"/>
                    <a:pt x="210303" y="350960"/>
                  </a:cubicBezTo>
                  <a:cubicBezTo>
                    <a:pt x="260011" y="342493"/>
                    <a:pt x="287596" y="325013"/>
                    <a:pt x="287596" y="304529"/>
                  </a:cubicBezTo>
                  <a:lnTo>
                    <a:pt x="287596" y="256460"/>
                  </a:lnTo>
                  <a:lnTo>
                    <a:pt x="287596" y="160322"/>
                  </a:lnTo>
                  <a:lnTo>
                    <a:pt x="287596" y="135468"/>
                  </a:lnTo>
                  <a:lnTo>
                    <a:pt x="287596" y="55717"/>
                  </a:lnTo>
                  <a:cubicBezTo>
                    <a:pt x="287596" y="27312"/>
                    <a:pt x="227783" y="4097"/>
                    <a:pt x="145846" y="4097"/>
                  </a:cubicBezTo>
                  <a:close/>
                </a:path>
              </a:pathLst>
            </a:custGeom>
            <a:noFill/>
            <a:ln w="6350"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sp>
        <p:nvSpPr>
          <p:cNvPr id="42" name="object 3">
            <a:extLst>
              <a:ext uri="{FF2B5EF4-FFF2-40B4-BE49-F238E27FC236}">
                <a16:creationId xmlns:a16="http://schemas.microsoft.com/office/drawing/2014/main" id="{6028A9CD-EF72-F7FB-C75C-1E0C5CFC879C}"/>
              </a:ext>
            </a:extLst>
          </p:cNvPr>
          <p:cNvSpPr txBox="1"/>
          <p:nvPr/>
        </p:nvSpPr>
        <p:spPr>
          <a:xfrm>
            <a:off x="545661" y="1689256"/>
            <a:ext cx="1195994" cy="16927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lang="en-US" sz="1000" spc="50" dirty="0">
                <a:solidFill>
                  <a:schemeClr val="tx2">
                    <a:lumMod val="75000"/>
                    <a:lumOff val="25000"/>
                  </a:schemeClr>
                </a:solidFill>
                <a:latin typeface="Aptos SemiBold" panose="020B0004020202020204" pitchFamily="34" charset="0"/>
                <a:cs typeface="Segoe UI Semibold" panose="020B0702040204020203" pitchFamily="34" charset="0"/>
              </a:rPr>
              <a:t>Agent Foundry</a:t>
            </a:r>
            <a:endParaRPr sz="1000" spc="50" dirty="0">
              <a:solidFill>
                <a:schemeClr val="tx2">
                  <a:lumMod val="75000"/>
                  <a:lumOff val="25000"/>
                </a:schemeClr>
              </a:solidFill>
              <a:latin typeface="Aptos SemiBold" panose="020B0004020202020204" pitchFamily="34" charset="0"/>
              <a:cs typeface="Segoe UI Semibold" panose="020B0702040204020203" pitchFamily="34" charset="0"/>
            </a:endParaRPr>
          </a:p>
        </p:txBody>
      </p:sp>
      <p:cxnSp>
        <p:nvCxnSpPr>
          <p:cNvPr id="43" name="Straight Arrow Connector 126">
            <a:extLst>
              <a:ext uri="{FF2B5EF4-FFF2-40B4-BE49-F238E27FC236}">
                <a16:creationId xmlns:a16="http://schemas.microsoft.com/office/drawing/2014/main" id="{A08F1EC2-D730-0886-D416-83077285C076}"/>
              </a:ext>
            </a:extLst>
          </p:cNvPr>
          <p:cNvCxnSpPr>
            <a:cxnSpLocks/>
            <a:stCxn id="36" idx="15"/>
            <a:endCxn id="3" idx="1"/>
          </p:cNvCxnSpPr>
          <p:nvPr/>
        </p:nvCxnSpPr>
        <p:spPr>
          <a:xfrm>
            <a:off x="1220665" y="2337041"/>
            <a:ext cx="1215310" cy="741202"/>
          </a:xfrm>
          <a:prstGeom prst="curvedConnector3">
            <a:avLst>
              <a:gd name="adj1" fmla="val 50000"/>
            </a:avLst>
          </a:prstGeom>
          <a:ln>
            <a:solidFill>
              <a:srgbClr val="B8CBD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2D12B0A1-D258-2A12-8BD7-9489475836F2}"/>
              </a:ext>
            </a:extLst>
          </p:cNvPr>
          <p:cNvSpPr txBox="1"/>
          <p:nvPr/>
        </p:nvSpPr>
        <p:spPr>
          <a:xfrm>
            <a:off x="1390636" y="2126691"/>
            <a:ext cx="936000" cy="3030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algn="ctr">
              <a:lnSpc>
                <a:spcPct val="100600"/>
              </a:lnSpc>
            </a:pPr>
            <a:r>
              <a:rPr lang="en-US" sz="7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gentic Design</a:t>
            </a:r>
          </a:p>
          <a:p>
            <a:pPr marL="12700" marR="5080" algn="ctr">
              <a:lnSpc>
                <a:spcPct val="100600"/>
              </a:lnSpc>
            </a:pPr>
            <a:r>
              <a:rPr lang="en-US" sz="7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gentic Ops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0CFC515-BC7C-F99B-A7DF-F6B1079981D3}"/>
              </a:ext>
            </a:extLst>
          </p:cNvPr>
          <p:cNvSpPr txBox="1"/>
          <p:nvPr/>
        </p:nvSpPr>
        <p:spPr>
          <a:xfrm>
            <a:off x="494623" y="2623223"/>
            <a:ext cx="1379889" cy="3653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algn="ctr">
              <a:lnSpc>
                <a:spcPts val="1100"/>
              </a:lnSpc>
            </a:pPr>
            <a:r>
              <a:rPr lang="en-US" sz="900" spc="6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or Agents Lifecycle Management</a:t>
            </a:r>
          </a:p>
        </p:txBody>
      </p:sp>
      <p:pic>
        <p:nvPicPr>
          <p:cNvPr id="1026" name="Picture 2" descr="Tricentis Tosca: A Codeless Model-Based Test Automation Tool - NashTech Blog">
            <a:extLst>
              <a:ext uri="{FF2B5EF4-FFF2-40B4-BE49-F238E27FC236}">
                <a16:creationId xmlns:a16="http://schemas.microsoft.com/office/drawing/2014/main" id="{0DF716F3-D139-DE2F-E7CA-6E0344ABD5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476" y="3109031"/>
            <a:ext cx="540000" cy="153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25568EC9-1085-4A69-9071-5E37153AC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caling Gen AI with Agentic Framework 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901839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069DF0-F590-CCB9-56C4-3FC2404E21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41DEFD61-D12E-08DD-CD24-398C703DA20F}"/>
              </a:ext>
            </a:extLst>
          </p:cNvPr>
          <p:cNvGrpSpPr/>
          <p:nvPr/>
        </p:nvGrpSpPr>
        <p:grpSpPr>
          <a:xfrm>
            <a:off x="397994" y="1524000"/>
            <a:ext cx="5137325" cy="3179081"/>
            <a:chOff x="677684" y="1792513"/>
            <a:chExt cx="5474151" cy="3387516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6C6C9B86-F0D0-FEAB-268D-15F525DC697F}"/>
                </a:ext>
              </a:extLst>
            </p:cNvPr>
            <p:cNvGrpSpPr/>
            <p:nvPr/>
          </p:nvGrpSpPr>
          <p:grpSpPr>
            <a:xfrm>
              <a:off x="746303" y="1792513"/>
              <a:ext cx="5405532" cy="3387516"/>
              <a:chOff x="1340461" y="2642069"/>
              <a:chExt cx="2733582" cy="3387516"/>
            </a:xfrm>
          </p:grpSpPr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023B7893-4EAA-D477-9569-B65BF9CDF037}"/>
                  </a:ext>
                </a:extLst>
              </p:cNvPr>
              <p:cNvSpPr txBox="1"/>
              <p:nvPr/>
            </p:nvSpPr>
            <p:spPr>
              <a:xfrm>
                <a:off x="1430173" y="2642069"/>
                <a:ext cx="2022687" cy="1773694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ts val="1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400" b="0" i="1" u="none" strike="noStrike" kern="1200" cap="none" spc="-15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Trebuchet MS" panose="020B0603020202020204" pitchFamily="34" charset="0"/>
                    <a:ea typeface="+mn-ea"/>
                    <a:cs typeface="Poppins SemiBold"/>
                    <a:sym typeface="Poppins SemiBold"/>
                  </a:rPr>
                  <a:t>Getting to the</a:t>
                </a:r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C3B12573-413A-084F-D445-AF7E8F55D6DB}"/>
                  </a:ext>
                </a:extLst>
              </p:cNvPr>
              <p:cNvSpPr txBox="1"/>
              <p:nvPr/>
            </p:nvSpPr>
            <p:spPr>
              <a:xfrm>
                <a:off x="1955020" y="3269413"/>
                <a:ext cx="2119023" cy="17736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ts val="1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400" b="1" i="1" u="none" strike="noStrike" kern="1200" cap="none" spc="-15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Trebuchet MS" panose="020B0603020202020204" pitchFamily="34" charset="0"/>
                    <a:ea typeface="+mn-ea"/>
                    <a:cs typeface="Poppins SemiBold"/>
                    <a:sym typeface="Poppins SemiBold"/>
                  </a:rPr>
                  <a:t>future, faster.</a:t>
                </a:r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19176261-6013-A8DE-CF65-A7F578370DCC}"/>
                  </a:ext>
                </a:extLst>
              </p:cNvPr>
              <p:cNvSpPr txBox="1"/>
              <p:nvPr/>
            </p:nvSpPr>
            <p:spPr>
              <a:xfrm>
                <a:off x="1340461" y="4168026"/>
                <a:ext cx="2442708" cy="18615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ts val="1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200" b="1" i="1" u="none" strike="noStrike" kern="1200" cap="none" spc="-150" normalizeH="0" baseline="0" noProof="0" dirty="0">
                    <a:ln w="28575">
                      <a:noFill/>
                    </a:ln>
                    <a:solidFill>
                      <a:srgbClr val="0070C0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Trebuchet MS" panose="020B0603020202020204" pitchFamily="34" charset="0"/>
                    <a:ea typeface="+mn-ea"/>
                    <a:cs typeface="Poppins SemiBold"/>
                    <a:sym typeface="Poppins SemiBold"/>
                  </a:rPr>
                  <a:t>Together</a:t>
                </a:r>
                <a:r>
                  <a:rPr kumimoji="0" lang="en-US" sz="7200" b="1" i="1" u="none" strike="noStrike" kern="1200" cap="none" spc="-150" normalizeH="0" baseline="0" noProof="0" dirty="0">
                    <a:ln w="28575">
                      <a:solidFill>
                        <a:srgbClr val="FFFFFF"/>
                      </a:solidFill>
                    </a:ln>
                    <a:solidFill>
                      <a:srgbClr val="0070C0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Trebuchet MS" panose="020B0603020202020204" pitchFamily="34" charset="0"/>
                    <a:ea typeface="+mn-ea"/>
                    <a:cs typeface="Poppins SemiBold"/>
                    <a:sym typeface="Poppins SemiBold"/>
                  </a:rPr>
                  <a:t>.</a:t>
                </a:r>
              </a:p>
            </p:txBody>
          </p:sp>
        </p:grp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2E19CAF-9066-043A-DDFE-CE0A6EB9C5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biLevel thresh="7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7684" y="1818835"/>
              <a:ext cx="2717183" cy="771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146319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333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EFm3JLYudEk8u/77O9TFQ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EFm3JLYudEk8u/77O9TFQDRGF0YQAWAAAAAlBlcnNvbmFsSWQAAQAAAAAAAk5hbWUACwAAAFBlcnNvbmFsSWQAEFZlcnNpb24AAAAAAAlMYXN0V3JpdGUAzSqbb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97343485099767"/>
  <p:tag name="EMPOWERCHARTSPROPERTIES_A_LENGTH" val="24576"/>
  <p:tag name="RUNTIME_ID" val="09318d4e-f44d-40b6-a604-175c336fbcf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EFm3JLYudEk8u/77O9TFQ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EFm3JLYudEk8u/77O9TFQDRGF0YQAWAAAAAlBlcnNvbmFsSWQAAQAAAAAAAk5hbWUACwAAAFBlcnNvbmFsSWQAEFZlcnNpb24AAAAAAAlMYXN0V3JpdGUAzSqbb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97343485099767"/>
  <p:tag name="EMPOWERCHARTSPROPERTIES_A_LENGTH" val="24576"/>
  <p:tag name="RUNTIME_ID" val="09318d4e-f44d-40b6-a604-175c336fbcf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EFm3JLYudEk8u/77O9TFQ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EFm3JLYudEk8u/77O9TFQDRGF0YQAWAAAAAlBlcnNvbmFsSWQAAQAAAAAAAk5hbWUACwAAAFBlcnNvbmFsSWQAEFZlcnNpb24AAAAAAAlMYXN0V3JpdGUAzSqbb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97343485099767"/>
  <p:tag name="EMPOWERCHARTSPROPERTIES_A_LENGTH" val="24576"/>
  <p:tag name="RUNTIME_ID" val="09318d4e-f44d-40b6-a604-175c336fbcf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i+54DrM1VHp+fFduEsIcU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i+54DrM1VHp+fFduEsIcUDRGF0YQAWAAAAAlBlcnNvbmFsSWQAAQAAAAAAAk5hbWUACwAAAFBlcnNvbmFsSWQAEFZlcnNpb24AAAAAAAlMYXN0V3JpdGUAtx1Ab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97283813902855"/>
  <p:tag name="EMPOWERCHARTSPROPERTIES_A_LENGTH" val="24576"/>
  <p:tag name="RUNTIME_ID" val="69d1ca75-254d-416d-9a20-22e313d8d2ef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i+54DrM1VHp+fFduEsIcU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i+54DrM1VHp+fFduEsIcUDRGF0YQAWAAAAAlBlcnNvbmFsSWQAAQAAAAAAAk5hbWUACwAAAFBlcnNvbmFsSWQAEFZlcnNpb24AAAAAAAlMYXN0V3JpdGUAtx1Ab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97283813902855"/>
  <p:tag name="EMPOWERCHARTSPROPERTIES_A_LENGTH" val="24576"/>
  <p:tag name="RUNTIME_ID" val="69d1ca75-254d-416d-9a20-22e313d8d2ef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i+54DrM1VHp+fFduEsIcU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i+54DrM1VHp+fFduEsIcUDRGF0YQAWAAAAAlBlcnNvbmFsSWQAAQAAAAAAAk5hbWUACwAAAFBlcnNvbmFsSWQAEFZlcnNpb24AAAAAAAlMYXN0V3JpdGUAtx1Ab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97283813902855"/>
  <p:tag name="EMPOWERCHARTSPROPERTIES_A_LENGTH" val="24576"/>
  <p:tag name="RUNTIME_ID" val="69d1ca75-254d-416d-9a20-22e313d8d2ef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EFm3JLYudEk8u/77O9TFQ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EFm3JLYudEk8u/77O9TFQDRGF0YQAWAAAAAlBlcnNvbmFsSWQAAQAAAAAAAk5hbWUACwAAAFBlcnNvbmFsSWQAEFZlcnNpb24AAAAAAAlMYXN0V3JpdGUAzSqbb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97343485099767"/>
  <p:tag name="EMPOWERCHARTSPROPERTIES_A_LENGTH" val="24576"/>
  <p:tag name="RUNTIME_ID" val="09318d4e-f44d-40b6-a604-175c336fbcf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i+54DrM1VHp+fFduEsIcU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i+54DrM1VHp+fFduEsIcUDRGF0YQAWAAAAAlBlcnNvbmFsSWQAAQAAAAAAAk5hbWUACwAAAFBlcnNvbmFsSWQAEFZlcnNpb24AAAAAAAlMYXN0V3JpdGUAtx1Ab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97283813902855"/>
  <p:tag name="EMPOWERCHARTSPROPERTIES_A_LENGTH" val="24576"/>
  <p:tag name="RUNTIME_ID" val="69d1ca75-254d-416d-9a20-22e313d8d2ef"/>
</p:tagLst>
</file>

<file path=ppt/theme/theme1.xml><?xml version="1.0" encoding="utf-8"?>
<a:theme xmlns:a="http://schemas.openxmlformats.org/drawingml/2006/main" name="2_Office Theme">
  <a:themeElements>
    <a:clrScheme name="LTIMindtree">
      <a:dk1>
        <a:srgbClr val="656565"/>
      </a:dk1>
      <a:lt1>
        <a:srgbClr val="FFFFFF"/>
      </a:lt1>
      <a:dk2>
        <a:srgbClr val="000000"/>
      </a:dk2>
      <a:lt2>
        <a:srgbClr val="FFFFFF"/>
      </a:lt2>
      <a:accent1>
        <a:srgbClr val="C6C6C6"/>
      </a:accent1>
      <a:accent2>
        <a:srgbClr val="002B64"/>
      </a:accent2>
      <a:accent3>
        <a:srgbClr val="0071C6"/>
      </a:accent3>
      <a:accent4>
        <a:srgbClr val="004F8B"/>
      </a:accent4>
      <a:accent5>
        <a:srgbClr val="FFC800"/>
      </a:accent5>
      <a:accent6>
        <a:srgbClr val="EF7F1A"/>
      </a:accent6>
      <a:hlink>
        <a:srgbClr val="781E7F"/>
      </a:hlink>
      <a:folHlink>
        <a:srgbClr val="2D309B"/>
      </a:folHlink>
    </a:clrScheme>
    <a:fontScheme name="Frutiger">
      <a:majorFont>
        <a:latin typeface="Frutiger 45 bold"/>
        <a:ea typeface=""/>
        <a:cs typeface=""/>
      </a:majorFont>
      <a:minorFont>
        <a:latin typeface="Frutiger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osFor_Spectra.potx" id="{D243AE31-2911-4724-A6B0-9DF4D975FB8C}" vid="{DF7EB32A-31C2-4AB8-91DF-BF0AD935DC35}"/>
    </a:ext>
  </a:extLst>
</a:theme>
</file>

<file path=ppt/theme/theme2.xml><?xml version="1.0" encoding="utf-8"?>
<a:theme xmlns:a="http://schemas.openxmlformats.org/drawingml/2006/main" name="3_Office Theme">
  <a:themeElements>
    <a:clrScheme name="DHL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ECB2F"/>
      </a:accent1>
      <a:accent2>
        <a:srgbClr val="003C6E"/>
      </a:accent2>
      <a:accent3>
        <a:srgbClr val="1D9FE9"/>
      </a:accent3>
      <a:accent4>
        <a:srgbClr val="D40511"/>
      </a:accent4>
      <a:accent5>
        <a:srgbClr val="BFBFBF"/>
      </a:accent5>
      <a:accent6>
        <a:srgbClr val="DFEDF9"/>
      </a:accent6>
      <a:hlink>
        <a:srgbClr val="64B3E3"/>
      </a:hlink>
      <a:folHlink>
        <a:srgbClr val="004683"/>
      </a:folHlink>
    </a:clrScheme>
    <a:fontScheme name="Frutiger">
      <a:majorFont>
        <a:latin typeface="Frutiger 45 bold"/>
        <a:ea typeface=""/>
        <a:cs typeface=""/>
      </a:majorFont>
      <a:minorFont>
        <a:latin typeface="Frutiger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osFor_Spectra.potx" id="{D243AE31-2911-4724-A6B0-9DF4D975FB8C}" vid="{DF7EB32A-31C2-4AB8-91DF-BF0AD935DC35}"/>
    </a:ext>
  </a:extLst>
</a:theme>
</file>

<file path=ppt/theme/theme3.xml><?xml version="1.0" encoding="utf-8"?>
<a:theme xmlns:a="http://schemas.openxmlformats.org/drawingml/2006/main" name="1_Office Theme">
  <a:themeElements>
    <a:clrScheme name="DHL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ECB2F"/>
      </a:accent1>
      <a:accent2>
        <a:srgbClr val="003C6E"/>
      </a:accent2>
      <a:accent3>
        <a:srgbClr val="1D9FE9"/>
      </a:accent3>
      <a:accent4>
        <a:srgbClr val="D40511"/>
      </a:accent4>
      <a:accent5>
        <a:srgbClr val="BFBFBF"/>
      </a:accent5>
      <a:accent6>
        <a:srgbClr val="DFEDF9"/>
      </a:accent6>
      <a:hlink>
        <a:srgbClr val="64B3E3"/>
      </a:hlink>
      <a:folHlink>
        <a:srgbClr val="004683"/>
      </a:folHlink>
    </a:clrScheme>
    <a:fontScheme name="Frutiger">
      <a:majorFont>
        <a:latin typeface="Frutiger 45 bold"/>
        <a:ea typeface=""/>
        <a:cs typeface=""/>
      </a:majorFont>
      <a:minorFont>
        <a:latin typeface="Frutiger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osFor_Spectra.potx" id="{D243AE31-2911-4724-A6B0-9DF4D975FB8C}" vid="{DF7EB32A-31C2-4AB8-91DF-BF0AD935DC3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A9F7CB9E2E6846B4A59A1184200B9F" ma:contentTypeVersion="14" ma:contentTypeDescription="Create a new document." ma:contentTypeScope="" ma:versionID="9df88c0394eaffffb1a509a53ed64ed8">
  <xsd:schema xmlns:xsd="http://www.w3.org/2001/XMLSchema" xmlns:xs="http://www.w3.org/2001/XMLSchema" xmlns:p="http://schemas.microsoft.com/office/2006/metadata/properties" xmlns:ns2="e959ad88-215e-4351-bf97-df1b6f03a8c4" xmlns:ns3="e9e23a45-c1be-4549-912d-df7a4714493e" targetNamespace="http://schemas.microsoft.com/office/2006/metadata/properties" ma:root="true" ma:fieldsID="5dddffe12ce5ceae167fb97b0a975ce7" ns2:_="" ns3:_="">
    <xsd:import namespace="e959ad88-215e-4351-bf97-df1b6f03a8c4"/>
    <xsd:import namespace="e9e23a45-c1be-4549-912d-df7a4714493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59ad88-215e-4351-bf97-df1b6f03a8c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ec554113-5c1c-4c88-a5a0-ba7e0db088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e23a45-c1be-4549-912d-df7a4714493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1cabb621-2185-4beb-aa24-ee932de4a0d4}" ma:internalName="TaxCatchAll" ma:showField="CatchAllData" ma:web="e9e23a45-c1be-4549-912d-df7a4714493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9e23a45-c1be-4549-912d-df7a4714493e" xsi:nil="true"/>
    <lcf76f155ced4ddcb4097134ff3c332f xmlns="e959ad88-215e-4351-bf97-df1b6f03a8c4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CCF43F1C-ABC6-45A5-9463-57BF9D9F679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959ad88-215e-4351-bf97-df1b6f03a8c4"/>
    <ds:schemaRef ds:uri="e9e23a45-c1be-4549-912d-df7a4714493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F3D8CBB-C150-4D45-A9CA-0C666B5EBB1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64F4BFF-72E2-4D44-B50A-EBAE69424F66}">
  <ds:schemaRefs>
    <ds:schemaRef ds:uri="http://schemas.microsoft.com/office/2006/metadata/properties"/>
    <ds:schemaRef ds:uri="http://www.w3.org/XML/1998/namespace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purl.org/dc/dcmitype/"/>
    <ds:schemaRef ds:uri="e9e23a45-c1be-4549-912d-df7a4714493e"/>
    <ds:schemaRef ds:uri="http://schemas.openxmlformats.org/package/2006/metadata/core-properties"/>
    <ds:schemaRef ds:uri="e959ad88-215e-4351-bf97-df1b6f03a8c4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78</TotalTime>
  <Words>388</Words>
  <Application>Microsoft Office PowerPoint</Application>
  <PresentationFormat>Widescreen</PresentationFormat>
  <Paragraphs>101</Paragraphs>
  <Slides>3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1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3</vt:i4>
      </vt:variant>
    </vt:vector>
  </HeadingPairs>
  <TitlesOfParts>
    <vt:vector size="27" baseType="lpstr">
      <vt:lpstr>Abadi Extra Light</vt:lpstr>
      <vt:lpstr>Amazon Ember</vt:lpstr>
      <vt:lpstr>Aptos Light</vt:lpstr>
      <vt:lpstr>Aptos SemiBold</vt:lpstr>
      <vt:lpstr>Arial</vt:lpstr>
      <vt:lpstr>Calibri</vt:lpstr>
      <vt:lpstr>Calibri Light</vt:lpstr>
      <vt:lpstr>Californian FB</vt:lpstr>
      <vt:lpstr>Consolas</vt:lpstr>
      <vt:lpstr>Frutiger 45 bold</vt:lpstr>
      <vt:lpstr>Frutiger 45 Light</vt:lpstr>
      <vt:lpstr>Frutiger LT Pro 45 Light</vt:lpstr>
      <vt:lpstr>Frutiger LT Pro 55 Roman</vt:lpstr>
      <vt:lpstr>Inter</vt:lpstr>
      <vt:lpstr>Roboto</vt:lpstr>
      <vt:lpstr>Segoe UI Light</vt:lpstr>
      <vt:lpstr>Source Sans Pro</vt:lpstr>
      <vt:lpstr>Source Sans Pro Light</vt:lpstr>
      <vt:lpstr>Symbol</vt:lpstr>
      <vt:lpstr>Trebuchet MS</vt:lpstr>
      <vt:lpstr>Wingdings</vt:lpstr>
      <vt:lpstr>2_Office Theme</vt:lpstr>
      <vt:lpstr>3_Office Theme</vt:lpstr>
      <vt:lpstr>1_Office Theme</vt:lpstr>
      <vt:lpstr>Scaling Gen AI with Agentic Framework</vt:lpstr>
      <vt:lpstr>Scaling Gen AI with Agentic Framework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pan Vora</dc:creator>
  <cp:lastModifiedBy>Ashutosh Dhananjay Bhamare</cp:lastModifiedBy>
  <cp:revision>1</cp:revision>
  <dcterms:created xsi:type="dcterms:W3CDTF">2024-01-23T05:38:06Z</dcterms:created>
  <dcterms:modified xsi:type="dcterms:W3CDTF">2025-06-26T15:51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A9F7CB9E2E6846B4A59A1184200B9F</vt:lpwstr>
  </property>
  <property fmtid="{D5CDD505-2E9C-101B-9397-08002B2CF9AE}" pid="3" name="MediaServiceImageTags">
    <vt:lpwstr/>
  </property>
</Properties>
</file>